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925" r:id="rId4"/>
    <p:sldMasterId id="2147483975" r:id="rId5"/>
    <p:sldMasterId id="2147483943" r:id="rId6"/>
    <p:sldMasterId id="2147483994" r:id="rId7"/>
    <p:sldMasterId id="2147483952" r:id="rId8"/>
    <p:sldMasterId id="2147484003" r:id="rId9"/>
  </p:sldMasterIdLst>
  <p:notesMasterIdLst>
    <p:notesMasterId r:id="rId62"/>
  </p:notesMasterIdLst>
  <p:handoutMasterIdLst>
    <p:handoutMasterId r:id="rId63"/>
  </p:handoutMasterIdLst>
  <p:sldIdLst>
    <p:sldId id="256" r:id="rId10"/>
    <p:sldId id="1871" r:id="rId11"/>
    <p:sldId id="362" r:id="rId12"/>
    <p:sldId id="1872" r:id="rId13"/>
    <p:sldId id="259" r:id="rId14"/>
    <p:sldId id="1850" r:id="rId15"/>
    <p:sldId id="257" r:id="rId16"/>
    <p:sldId id="263" r:id="rId17"/>
    <p:sldId id="1873" r:id="rId18"/>
    <p:sldId id="1874" r:id="rId19"/>
    <p:sldId id="260" r:id="rId20"/>
    <p:sldId id="1843" r:id="rId21"/>
    <p:sldId id="287" r:id="rId22"/>
    <p:sldId id="361" r:id="rId23"/>
    <p:sldId id="1910" r:id="rId24"/>
    <p:sldId id="264" r:id="rId25"/>
    <p:sldId id="1844" r:id="rId26"/>
    <p:sldId id="272" r:id="rId27"/>
    <p:sldId id="1881" r:id="rId28"/>
    <p:sldId id="1882" r:id="rId29"/>
    <p:sldId id="1905" r:id="rId30"/>
    <p:sldId id="1890" r:id="rId31"/>
    <p:sldId id="1899" r:id="rId32"/>
    <p:sldId id="1900" r:id="rId33"/>
    <p:sldId id="1916" r:id="rId34"/>
    <p:sldId id="1853" r:id="rId35"/>
    <p:sldId id="1859" r:id="rId36"/>
    <p:sldId id="1903" r:id="rId37"/>
    <p:sldId id="1897" r:id="rId38"/>
    <p:sldId id="1887" r:id="rId39"/>
    <p:sldId id="1904" r:id="rId40"/>
    <p:sldId id="1891" r:id="rId41"/>
    <p:sldId id="1906" r:id="rId42"/>
    <p:sldId id="1914" r:id="rId43"/>
    <p:sldId id="625" r:id="rId44"/>
    <p:sldId id="1879" r:id="rId45"/>
    <p:sldId id="1917" r:id="rId46"/>
    <p:sldId id="359" r:id="rId47"/>
    <p:sldId id="1913" r:id="rId48"/>
    <p:sldId id="271" r:id="rId49"/>
    <p:sldId id="1845" r:id="rId50"/>
    <p:sldId id="265" r:id="rId51"/>
    <p:sldId id="1869" r:id="rId52"/>
    <p:sldId id="614" r:id="rId53"/>
    <p:sldId id="373" r:id="rId54"/>
    <p:sldId id="1892" r:id="rId55"/>
    <p:sldId id="1878" r:id="rId56"/>
    <p:sldId id="1915" r:id="rId57"/>
    <p:sldId id="1888" r:id="rId58"/>
    <p:sldId id="295" r:id="rId59"/>
    <p:sldId id="312" r:id="rId60"/>
    <p:sldId id="1880" r:id="rId61"/>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643A9B2D-3620-4E64-86C6-CBA65B8F15E8}">
          <p14:sldIdLst>
            <p14:sldId id="256"/>
          </p14:sldIdLst>
        </p14:section>
        <p14:section name="Intro / Context" id="{9A8F10ED-BC37-43AF-96EA-EFEB39167174}">
          <p14:sldIdLst>
            <p14:sldId id="1871"/>
          </p14:sldIdLst>
        </p14:section>
        <p14:section name="Motivation" id="{2A96F322-DE4F-4FF3-8646-79BD2C554E8B}">
          <p14:sldIdLst>
            <p14:sldId id="362"/>
            <p14:sldId id="1872"/>
            <p14:sldId id="259"/>
            <p14:sldId id="1850"/>
            <p14:sldId id="257"/>
            <p14:sldId id="263"/>
            <p14:sldId id="1873"/>
            <p14:sldId id="1874"/>
            <p14:sldId id="260"/>
            <p14:sldId id="1843"/>
            <p14:sldId id="287"/>
            <p14:sldId id="361"/>
            <p14:sldId id="1910"/>
            <p14:sldId id="264"/>
          </p14:sldIdLst>
        </p14:section>
        <p14:section name="Demographics" id="{FDEE69D5-7DB9-49CD-A485-7B4F75C638B0}">
          <p14:sldIdLst>
            <p14:sldId id="1844"/>
            <p14:sldId id="272"/>
            <p14:sldId id="1881"/>
            <p14:sldId id="1882"/>
          </p14:sldIdLst>
        </p14:section>
        <p14:section name="Questions" id="{387A2C2D-0D46-4AE6-ADAC-D1533F6D1BD7}">
          <p14:sldIdLst>
            <p14:sldId id="1905"/>
            <p14:sldId id="1890"/>
            <p14:sldId id="1899"/>
            <p14:sldId id="1900"/>
          </p14:sldIdLst>
        </p14:section>
        <p14:section name="Threats&amp;Methods" id="{6B80EAB5-0FC4-4A99-B50D-61A55FBEDF3E}">
          <p14:sldIdLst>
            <p14:sldId id="1916"/>
            <p14:sldId id="1853"/>
            <p14:sldId id="1859"/>
          </p14:sldIdLst>
        </p14:section>
        <p14:section name="Challenges" id="{B1A750B3-3C42-4FB7-BEAF-2380D20BFF57}">
          <p14:sldIdLst>
            <p14:sldId id="1903"/>
            <p14:sldId id="1897"/>
            <p14:sldId id="1887"/>
          </p14:sldIdLst>
        </p14:section>
        <p14:section name="Best Practices" id="{7915EDEC-6F91-40A3-97D8-8641E8C8086C}">
          <p14:sldIdLst>
            <p14:sldId id="1904"/>
            <p14:sldId id="1891"/>
          </p14:sldIdLst>
        </p14:section>
        <p14:section name="Take Aways" id="{922372B3-72E4-4619-BE6F-04DC583B5B14}">
          <p14:sldIdLst>
            <p14:sldId id="1906"/>
            <p14:sldId id="1914"/>
            <p14:sldId id="625"/>
            <p14:sldId id="1879"/>
            <p14:sldId id="1917"/>
            <p14:sldId id="359"/>
            <p14:sldId id="1913"/>
            <p14:sldId id="271"/>
          </p14:sldIdLst>
        </p14:section>
        <p14:section name="Summary Conclusions" id="{5DEAA359-B906-42D6-82C5-6D631A0F10B5}">
          <p14:sldIdLst>
            <p14:sldId id="1845"/>
            <p14:sldId id="265"/>
            <p14:sldId id="1869"/>
          </p14:sldIdLst>
        </p14:section>
        <p14:section name="REFERENCES" id="{9E192587-0D9D-4FAC-A51D-6ED5B2C5C41F}">
          <p14:sldIdLst>
            <p14:sldId id="614"/>
            <p14:sldId id="373"/>
          </p14:sldIdLst>
        </p14:section>
        <p14:section name="APPENDIX" id="{82FAAFC3-87B1-4AD2-8776-9D977DF83308}">
          <p14:sldIdLst>
            <p14:sldId id="1892"/>
            <p14:sldId id="1878"/>
            <p14:sldId id="1915"/>
            <p14:sldId id="1888"/>
            <p14:sldId id="295"/>
            <p14:sldId id="312"/>
            <p14:sldId id="1880"/>
          </p14:sldIdLst>
        </p14:section>
      </p14:sectionLst>
    </p:ext>
    <p:ext uri="{EFAFB233-063F-42B5-8137-9DF3F51BA10A}">
      <p15:sldGuideLst xmlns:p15="http://schemas.microsoft.com/office/powerpoint/2012/main">
        <p15:guide id="1" orient="horz" pos="1616">
          <p15:clr>
            <a:srgbClr val="A4A3A4"/>
          </p15:clr>
        </p15:guide>
        <p15:guide id="2" pos="2880">
          <p15:clr>
            <a:srgbClr val="A4A3A4"/>
          </p15:clr>
        </p15:guide>
        <p15:guide id="3" orient="horz" pos="1619">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8" userDrawn="1">
          <p15:clr>
            <a:srgbClr val="A4A3A4"/>
          </p15:clr>
        </p15:guide>
        <p15:guide id="3" orient="horz" pos="29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C00"/>
    <a:srgbClr val="FFFFCC"/>
    <a:srgbClr val="00517E"/>
    <a:srgbClr val="CCFFCC"/>
    <a:srgbClr val="022E50"/>
    <a:srgbClr val="08649C"/>
    <a:srgbClr val="BEB5AC"/>
    <a:srgbClr val="DB3856"/>
    <a:srgbClr val="04304B"/>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7" autoAdjust="0"/>
    <p:restoredTop sz="88839" autoAdjust="0"/>
  </p:normalViewPr>
  <p:slideViewPr>
    <p:cSldViewPr snapToGrid="0" snapToObjects="1" showGuides="1">
      <p:cViewPr varScale="1">
        <p:scale>
          <a:sx n="113" d="100"/>
          <a:sy n="113" d="100"/>
        </p:scale>
        <p:origin x="59" y="115"/>
      </p:cViewPr>
      <p:guideLst>
        <p:guide orient="horz" pos="1616"/>
        <p:guide pos="2880"/>
        <p:guide orient="horz" pos="161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2448"/>
    </p:cViewPr>
  </p:sorterViewPr>
  <p:notesViewPr>
    <p:cSldViewPr snapToGrid="0" snapToObjects="1" showGuides="1">
      <p:cViewPr>
        <p:scale>
          <a:sx n="100" d="100"/>
          <a:sy n="100" d="100"/>
        </p:scale>
        <p:origin x="2016" y="-966"/>
      </p:cViewPr>
      <p:guideLst>
        <p:guide orient="horz" pos="2929"/>
        <p:guide pos="2208"/>
        <p:guide orient="horz" pos="292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8D48C5-2FFB-4427-8A8C-43B87EA617F5}" type="doc">
      <dgm:prSet loTypeId="urn:microsoft.com/office/officeart/2005/8/layout/cycle4" loCatId="matrix" qsTypeId="urn:microsoft.com/office/officeart/2005/8/quickstyle/3d1" qsCatId="3D" csTypeId="urn:microsoft.com/office/officeart/2005/8/colors/accent3_2" csCatId="accent3" phldr="1"/>
      <dgm:spPr/>
      <dgm:t>
        <a:bodyPr/>
        <a:lstStyle/>
        <a:p>
          <a:endParaRPr lang="en-US"/>
        </a:p>
      </dgm:t>
    </dgm:pt>
    <dgm:pt modelId="{B0C1A6AA-3648-40A9-B0C2-424BC6E32E9B}">
      <dgm:prSet phldrT="[Text]" custT="1"/>
      <dgm:spPr/>
      <dgm:t>
        <a:bodyPr/>
        <a:lstStyle/>
        <a:p>
          <a:r>
            <a:rPr lang="en-US" sz="2400" b="1" dirty="0"/>
            <a:t>Security Experts</a:t>
          </a:r>
        </a:p>
      </dgm:t>
    </dgm:pt>
    <dgm:pt modelId="{A57B6657-3897-4EF1-B964-7BB49A876424}" type="parTrans" cxnId="{34870B27-9689-432B-B422-2410EF6573BF}">
      <dgm:prSet/>
      <dgm:spPr/>
      <dgm:t>
        <a:bodyPr/>
        <a:lstStyle/>
        <a:p>
          <a:endParaRPr lang="en-US"/>
        </a:p>
      </dgm:t>
    </dgm:pt>
    <dgm:pt modelId="{0B51DB04-2158-4D73-B074-9351DDCD101E}" type="sibTrans" cxnId="{34870B27-9689-432B-B422-2410EF6573BF}">
      <dgm:prSet/>
      <dgm:spPr/>
      <dgm:t>
        <a:bodyPr/>
        <a:lstStyle/>
        <a:p>
          <a:endParaRPr lang="en-US"/>
        </a:p>
      </dgm:t>
    </dgm:pt>
    <dgm:pt modelId="{6396949B-4D62-4C91-A7BD-4EE69FD9528F}">
      <dgm:prSet phldrT="[Text]" custT="1"/>
      <dgm:spPr/>
      <dgm:t>
        <a:bodyPr/>
        <a:lstStyle/>
        <a:p>
          <a:r>
            <a:rPr lang="en-US" sz="2000" b="1" dirty="0"/>
            <a:t>Data Scientists</a:t>
          </a:r>
        </a:p>
      </dgm:t>
    </dgm:pt>
    <dgm:pt modelId="{015ADE3E-1965-4598-BEB2-F15F4E6AD831}" type="parTrans" cxnId="{527F0B0D-7542-4944-98C3-F940DA83B7A3}">
      <dgm:prSet/>
      <dgm:spPr/>
      <dgm:t>
        <a:bodyPr/>
        <a:lstStyle/>
        <a:p>
          <a:endParaRPr lang="en-US"/>
        </a:p>
      </dgm:t>
    </dgm:pt>
    <dgm:pt modelId="{40928E45-F548-4D8C-95F4-14CC6E2B678D}" type="sibTrans" cxnId="{527F0B0D-7542-4944-98C3-F940DA83B7A3}">
      <dgm:prSet/>
      <dgm:spPr/>
      <dgm:t>
        <a:bodyPr/>
        <a:lstStyle/>
        <a:p>
          <a:endParaRPr lang="en-US"/>
        </a:p>
      </dgm:t>
    </dgm:pt>
    <dgm:pt modelId="{1C9E884E-7D73-484E-BB72-4C4190AF2379}">
      <dgm:prSet phldrT="[Text]" custT="1"/>
      <dgm:spPr/>
      <dgm:t>
        <a:bodyPr/>
        <a:lstStyle/>
        <a:p>
          <a:r>
            <a:rPr lang="en-US" sz="2000" b="1" dirty="0"/>
            <a:t>Data Engineers</a:t>
          </a:r>
        </a:p>
      </dgm:t>
    </dgm:pt>
    <dgm:pt modelId="{5138021D-E9A1-4370-9950-48B60AD42768}" type="parTrans" cxnId="{8B45DEBE-4148-497B-BAFF-152D7474A855}">
      <dgm:prSet/>
      <dgm:spPr/>
      <dgm:t>
        <a:bodyPr/>
        <a:lstStyle/>
        <a:p>
          <a:endParaRPr lang="en-US"/>
        </a:p>
      </dgm:t>
    </dgm:pt>
    <dgm:pt modelId="{A234F63B-48C8-4C11-9896-84E844CA6780}" type="sibTrans" cxnId="{8B45DEBE-4148-497B-BAFF-152D7474A855}">
      <dgm:prSet/>
      <dgm:spPr/>
      <dgm:t>
        <a:bodyPr/>
        <a:lstStyle/>
        <a:p>
          <a:endParaRPr lang="en-US"/>
        </a:p>
      </dgm:t>
    </dgm:pt>
    <dgm:pt modelId="{1F08E8AA-FA06-49DC-8C15-F113D312841F}">
      <dgm:prSet phldrT="[Text]" custT="1"/>
      <dgm:spPr/>
      <dgm:t>
        <a:bodyPr/>
        <a:lstStyle/>
        <a:p>
          <a:r>
            <a:rPr lang="en-US" sz="2400" b="1" dirty="0"/>
            <a:t>MGMT</a:t>
          </a:r>
        </a:p>
      </dgm:t>
    </dgm:pt>
    <dgm:pt modelId="{A9759BC4-50DC-470B-86C6-6F91EF0171FF}" type="parTrans" cxnId="{2A81E4F9-06BB-4F4A-A1C6-608881C56C0F}">
      <dgm:prSet/>
      <dgm:spPr/>
      <dgm:t>
        <a:bodyPr/>
        <a:lstStyle/>
        <a:p>
          <a:endParaRPr lang="en-US"/>
        </a:p>
      </dgm:t>
    </dgm:pt>
    <dgm:pt modelId="{26BE3AE0-4DCE-44EA-9010-CC5DCD61DD9A}" type="sibTrans" cxnId="{2A81E4F9-06BB-4F4A-A1C6-608881C56C0F}">
      <dgm:prSet/>
      <dgm:spPr/>
      <dgm:t>
        <a:bodyPr/>
        <a:lstStyle/>
        <a:p>
          <a:endParaRPr lang="en-US"/>
        </a:p>
      </dgm:t>
    </dgm:pt>
    <dgm:pt modelId="{32184EF5-7E7B-48E7-A464-7D572EC6258F}" type="pres">
      <dgm:prSet presAssocID="{2E8D48C5-2FFB-4427-8A8C-43B87EA617F5}" presName="cycleMatrixDiagram" presStyleCnt="0">
        <dgm:presLayoutVars>
          <dgm:chMax val="1"/>
          <dgm:dir/>
          <dgm:animLvl val="lvl"/>
          <dgm:resizeHandles val="exact"/>
        </dgm:presLayoutVars>
      </dgm:prSet>
      <dgm:spPr/>
      <dgm:t>
        <a:bodyPr/>
        <a:lstStyle/>
        <a:p>
          <a:endParaRPr lang="en-US"/>
        </a:p>
      </dgm:t>
    </dgm:pt>
    <dgm:pt modelId="{E36F5B44-1166-4A69-A429-18707F4EAB30}" type="pres">
      <dgm:prSet presAssocID="{2E8D48C5-2FFB-4427-8A8C-43B87EA617F5}" presName="children" presStyleCnt="0"/>
      <dgm:spPr/>
    </dgm:pt>
    <dgm:pt modelId="{A6BB4CCA-33E7-4340-86C9-D55DEEFF5739}" type="pres">
      <dgm:prSet presAssocID="{2E8D48C5-2FFB-4427-8A8C-43B87EA617F5}" presName="childPlaceholder" presStyleCnt="0"/>
      <dgm:spPr/>
    </dgm:pt>
    <dgm:pt modelId="{EFE4E76A-59C1-4372-8122-9D0379787B2D}" type="pres">
      <dgm:prSet presAssocID="{2E8D48C5-2FFB-4427-8A8C-43B87EA617F5}" presName="circle" presStyleCnt="0"/>
      <dgm:spPr/>
    </dgm:pt>
    <dgm:pt modelId="{37CB2F34-C9D0-4B1B-B6C5-B9D248F3D331}" type="pres">
      <dgm:prSet presAssocID="{2E8D48C5-2FFB-4427-8A8C-43B87EA617F5}" presName="quadrant1" presStyleLbl="node1" presStyleIdx="0" presStyleCnt="4">
        <dgm:presLayoutVars>
          <dgm:chMax val="1"/>
          <dgm:bulletEnabled val="1"/>
        </dgm:presLayoutVars>
      </dgm:prSet>
      <dgm:spPr/>
      <dgm:t>
        <a:bodyPr/>
        <a:lstStyle/>
        <a:p>
          <a:endParaRPr lang="en-US"/>
        </a:p>
      </dgm:t>
    </dgm:pt>
    <dgm:pt modelId="{CBC1064E-EB9E-4415-9B80-D0F76C492452}" type="pres">
      <dgm:prSet presAssocID="{2E8D48C5-2FFB-4427-8A8C-43B87EA617F5}" presName="quadrant2" presStyleLbl="node1" presStyleIdx="1" presStyleCnt="4">
        <dgm:presLayoutVars>
          <dgm:chMax val="1"/>
          <dgm:bulletEnabled val="1"/>
        </dgm:presLayoutVars>
      </dgm:prSet>
      <dgm:spPr/>
      <dgm:t>
        <a:bodyPr/>
        <a:lstStyle/>
        <a:p>
          <a:endParaRPr lang="en-US"/>
        </a:p>
      </dgm:t>
    </dgm:pt>
    <dgm:pt modelId="{9809EFB9-2681-4622-8BAC-39F02DB1CC49}" type="pres">
      <dgm:prSet presAssocID="{2E8D48C5-2FFB-4427-8A8C-43B87EA617F5}" presName="quadrant3" presStyleLbl="node1" presStyleIdx="2" presStyleCnt="4">
        <dgm:presLayoutVars>
          <dgm:chMax val="1"/>
          <dgm:bulletEnabled val="1"/>
        </dgm:presLayoutVars>
      </dgm:prSet>
      <dgm:spPr/>
      <dgm:t>
        <a:bodyPr/>
        <a:lstStyle/>
        <a:p>
          <a:endParaRPr lang="en-US"/>
        </a:p>
      </dgm:t>
    </dgm:pt>
    <dgm:pt modelId="{3EC4CD28-D5CD-4C4E-80E8-E6873E1F4F72}" type="pres">
      <dgm:prSet presAssocID="{2E8D48C5-2FFB-4427-8A8C-43B87EA617F5}" presName="quadrant4" presStyleLbl="node1" presStyleIdx="3" presStyleCnt="4">
        <dgm:presLayoutVars>
          <dgm:chMax val="1"/>
          <dgm:bulletEnabled val="1"/>
        </dgm:presLayoutVars>
      </dgm:prSet>
      <dgm:spPr/>
      <dgm:t>
        <a:bodyPr/>
        <a:lstStyle/>
        <a:p>
          <a:endParaRPr lang="en-US"/>
        </a:p>
      </dgm:t>
    </dgm:pt>
    <dgm:pt modelId="{D2897844-8629-4131-A500-789443C91308}" type="pres">
      <dgm:prSet presAssocID="{2E8D48C5-2FFB-4427-8A8C-43B87EA617F5}" presName="quadrantPlaceholder" presStyleCnt="0"/>
      <dgm:spPr/>
    </dgm:pt>
    <dgm:pt modelId="{6ADBABAF-B2E0-4F97-ACCF-D736ECAAC5C8}" type="pres">
      <dgm:prSet presAssocID="{2E8D48C5-2FFB-4427-8A8C-43B87EA617F5}" presName="center1" presStyleLbl="fgShp" presStyleIdx="0" presStyleCnt="2"/>
      <dgm:spPr/>
    </dgm:pt>
    <dgm:pt modelId="{70858CD3-7478-42A0-A58F-0A4231D6837A}" type="pres">
      <dgm:prSet presAssocID="{2E8D48C5-2FFB-4427-8A8C-43B87EA617F5}" presName="center2" presStyleLbl="fgShp" presStyleIdx="1" presStyleCnt="2"/>
      <dgm:spPr/>
    </dgm:pt>
  </dgm:ptLst>
  <dgm:cxnLst>
    <dgm:cxn modelId="{CF6DE0A3-DB0D-42FD-8259-E63D7392E283}" type="presOf" srcId="{1C9E884E-7D73-484E-BB72-4C4190AF2379}" destId="{9809EFB9-2681-4622-8BAC-39F02DB1CC49}" srcOrd="0" destOrd="0" presId="urn:microsoft.com/office/officeart/2005/8/layout/cycle4"/>
    <dgm:cxn modelId="{34870B27-9689-432B-B422-2410EF6573BF}" srcId="{2E8D48C5-2FFB-4427-8A8C-43B87EA617F5}" destId="{B0C1A6AA-3648-40A9-B0C2-424BC6E32E9B}" srcOrd="0" destOrd="0" parTransId="{A57B6657-3897-4EF1-B964-7BB49A876424}" sibTransId="{0B51DB04-2158-4D73-B074-9351DDCD101E}"/>
    <dgm:cxn modelId="{527F0B0D-7542-4944-98C3-F940DA83B7A3}" srcId="{2E8D48C5-2FFB-4427-8A8C-43B87EA617F5}" destId="{6396949B-4D62-4C91-A7BD-4EE69FD9528F}" srcOrd="1" destOrd="0" parTransId="{015ADE3E-1965-4598-BEB2-F15F4E6AD831}" sibTransId="{40928E45-F548-4D8C-95F4-14CC6E2B678D}"/>
    <dgm:cxn modelId="{2A81E4F9-06BB-4F4A-A1C6-608881C56C0F}" srcId="{2E8D48C5-2FFB-4427-8A8C-43B87EA617F5}" destId="{1F08E8AA-FA06-49DC-8C15-F113D312841F}" srcOrd="3" destOrd="0" parTransId="{A9759BC4-50DC-470B-86C6-6F91EF0171FF}" sibTransId="{26BE3AE0-4DCE-44EA-9010-CC5DCD61DD9A}"/>
    <dgm:cxn modelId="{B193DB52-A526-48AD-98D2-142F7101A694}" type="presOf" srcId="{1F08E8AA-FA06-49DC-8C15-F113D312841F}" destId="{3EC4CD28-D5CD-4C4E-80E8-E6873E1F4F72}" srcOrd="0" destOrd="0" presId="urn:microsoft.com/office/officeart/2005/8/layout/cycle4"/>
    <dgm:cxn modelId="{93BAAA99-94CA-4A80-9E3E-D0722BD2F890}" type="presOf" srcId="{2E8D48C5-2FFB-4427-8A8C-43B87EA617F5}" destId="{32184EF5-7E7B-48E7-A464-7D572EC6258F}" srcOrd="0" destOrd="0" presId="urn:microsoft.com/office/officeart/2005/8/layout/cycle4"/>
    <dgm:cxn modelId="{8B45DEBE-4148-497B-BAFF-152D7474A855}" srcId="{2E8D48C5-2FFB-4427-8A8C-43B87EA617F5}" destId="{1C9E884E-7D73-484E-BB72-4C4190AF2379}" srcOrd="2" destOrd="0" parTransId="{5138021D-E9A1-4370-9950-48B60AD42768}" sibTransId="{A234F63B-48C8-4C11-9896-84E844CA6780}"/>
    <dgm:cxn modelId="{DE6809CB-D1C5-45A7-B578-063B3F041CD2}" type="presOf" srcId="{6396949B-4D62-4C91-A7BD-4EE69FD9528F}" destId="{CBC1064E-EB9E-4415-9B80-D0F76C492452}" srcOrd="0" destOrd="0" presId="urn:microsoft.com/office/officeart/2005/8/layout/cycle4"/>
    <dgm:cxn modelId="{CD7C2BE4-0F75-4594-97CC-D0C3B5D5293E}" type="presOf" srcId="{B0C1A6AA-3648-40A9-B0C2-424BC6E32E9B}" destId="{37CB2F34-C9D0-4B1B-B6C5-B9D248F3D331}" srcOrd="0" destOrd="0" presId="urn:microsoft.com/office/officeart/2005/8/layout/cycle4"/>
    <dgm:cxn modelId="{A038FFC4-B8FB-4726-B34A-54AC28D15A09}" type="presParOf" srcId="{32184EF5-7E7B-48E7-A464-7D572EC6258F}" destId="{E36F5B44-1166-4A69-A429-18707F4EAB30}" srcOrd="0" destOrd="0" presId="urn:microsoft.com/office/officeart/2005/8/layout/cycle4"/>
    <dgm:cxn modelId="{FABE9C3A-9DBC-482E-83E8-7C9FDC2E1275}" type="presParOf" srcId="{E36F5B44-1166-4A69-A429-18707F4EAB30}" destId="{A6BB4CCA-33E7-4340-86C9-D55DEEFF5739}" srcOrd="0" destOrd="0" presId="urn:microsoft.com/office/officeart/2005/8/layout/cycle4"/>
    <dgm:cxn modelId="{4BB3D9CD-5DD3-440C-B6CE-7AF1EDE48DEB}" type="presParOf" srcId="{32184EF5-7E7B-48E7-A464-7D572EC6258F}" destId="{EFE4E76A-59C1-4372-8122-9D0379787B2D}" srcOrd="1" destOrd="0" presId="urn:microsoft.com/office/officeart/2005/8/layout/cycle4"/>
    <dgm:cxn modelId="{7E5C45F1-E2C7-43E4-84CC-B20ECA314F2D}" type="presParOf" srcId="{EFE4E76A-59C1-4372-8122-9D0379787B2D}" destId="{37CB2F34-C9D0-4B1B-B6C5-B9D248F3D331}" srcOrd="0" destOrd="0" presId="urn:microsoft.com/office/officeart/2005/8/layout/cycle4"/>
    <dgm:cxn modelId="{08393C37-52E3-40CA-A0D4-BF7198568611}" type="presParOf" srcId="{EFE4E76A-59C1-4372-8122-9D0379787B2D}" destId="{CBC1064E-EB9E-4415-9B80-D0F76C492452}" srcOrd="1" destOrd="0" presId="urn:microsoft.com/office/officeart/2005/8/layout/cycle4"/>
    <dgm:cxn modelId="{1CC4B3BE-A519-47D0-9332-2450139FC21B}" type="presParOf" srcId="{EFE4E76A-59C1-4372-8122-9D0379787B2D}" destId="{9809EFB9-2681-4622-8BAC-39F02DB1CC49}" srcOrd="2" destOrd="0" presId="urn:microsoft.com/office/officeart/2005/8/layout/cycle4"/>
    <dgm:cxn modelId="{84BABD9E-5BC3-423C-8B79-3CF0B0523379}" type="presParOf" srcId="{EFE4E76A-59C1-4372-8122-9D0379787B2D}" destId="{3EC4CD28-D5CD-4C4E-80E8-E6873E1F4F72}" srcOrd="3" destOrd="0" presId="urn:microsoft.com/office/officeart/2005/8/layout/cycle4"/>
    <dgm:cxn modelId="{EA2B1A47-3EC2-4B0D-A427-86A7411C98AC}" type="presParOf" srcId="{EFE4E76A-59C1-4372-8122-9D0379787B2D}" destId="{D2897844-8629-4131-A500-789443C91308}" srcOrd="4" destOrd="0" presId="urn:microsoft.com/office/officeart/2005/8/layout/cycle4"/>
    <dgm:cxn modelId="{C5EE3C0C-DFC8-4B20-BDB0-2F264969F7C2}" type="presParOf" srcId="{32184EF5-7E7B-48E7-A464-7D572EC6258F}" destId="{6ADBABAF-B2E0-4F97-ACCF-D736ECAAC5C8}" srcOrd="2" destOrd="0" presId="urn:microsoft.com/office/officeart/2005/8/layout/cycle4"/>
    <dgm:cxn modelId="{1EF203F2-AB29-4A4D-9D85-4F78A3BA38F3}" type="presParOf" srcId="{32184EF5-7E7B-48E7-A464-7D572EC6258F}" destId="{70858CD3-7478-42A0-A58F-0A4231D6837A}"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Slide Number Placeholder 1"/>
          <p:cNvSpPr txBox="1">
            <a:spLocks noChangeAspect="1"/>
          </p:cNvSpPr>
          <p:nvPr/>
        </p:nvSpPr>
        <p:spPr>
          <a:xfrm>
            <a:off x="0" y="8822841"/>
            <a:ext cx="7010400" cy="473559"/>
          </a:xfrm>
          <a:prstGeom prst="rect">
            <a:avLst/>
          </a:prstGeom>
          <a:gradFill>
            <a:gsLst>
              <a:gs pos="0">
                <a:srgbClr val="00517E"/>
              </a:gs>
              <a:gs pos="100000">
                <a:srgbClr val="04304B"/>
              </a:gs>
            </a:gsLst>
            <a:path path="circle">
              <a:fillToRect l="50000" t="50000" r="50000" b="50000"/>
            </a:path>
          </a:gradFill>
        </p:spPr>
        <p:txBody>
          <a:bodyPr vert="horz" lIns="279532" tIns="94724" rIns="93177" bIns="94724" rtlCol="0" anchor="ctr">
            <a:noAutofit/>
          </a:bodyP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86355"/>
            <a:r>
              <a:rPr lang="en-US" sz="1000" dirty="0">
                <a:solidFill>
                  <a:schemeClr val="bg1"/>
                </a:solidFill>
              </a:rPr>
              <a:t>Page </a:t>
            </a:r>
            <a:fld id="{114C7B2E-8ACE-7A49-BC19-183EB2D79019}" type="slidenum">
              <a:rPr lang="en-US" sz="1000">
                <a:solidFill>
                  <a:schemeClr val="bg1"/>
                </a:solidFill>
              </a:rPr>
              <a:pPr algn="l" defTabSz="186355"/>
              <a:t>‹#›</a:t>
            </a:fld>
            <a:endParaRPr lang="en-US" sz="1000" dirty="0">
              <a:solidFill>
                <a:schemeClr val="bg1"/>
              </a:solidFill>
            </a:endParaRPr>
          </a:p>
        </p:txBody>
      </p:sp>
      <p:sp>
        <p:nvSpPr>
          <p:cNvPr id="8" name="TextBox 2"/>
          <p:cNvSpPr txBox="1"/>
          <p:nvPr/>
        </p:nvSpPr>
        <p:spPr>
          <a:xfrm>
            <a:off x="2548743" y="8878062"/>
            <a:ext cx="1912915" cy="219035"/>
          </a:xfrm>
          <a:prstGeom prst="rect">
            <a:avLst/>
          </a:prstGeom>
          <a:noFill/>
        </p:spPr>
        <p:txBody>
          <a:bodyPr wrap="square" lIns="93177" tIns="46589" rIns="93177" bIns="46589" rtlCol="0" anchor="ctr">
            <a:spAutoFit/>
          </a:bodyPr>
          <a:lstStyle/>
          <a:p>
            <a:pPr algn="ctr" defTabSz="186355"/>
            <a:r>
              <a:rPr lang="en-US" sz="800" dirty="0">
                <a:solidFill>
                  <a:schemeClr val="bg1"/>
                </a:solidFill>
              </a:rPr>
              <a:t>sas.com</a:t>
            </a:r>
          </a:p>
        </p:txBody>
      </p:sp>
      <p:sp>
        <p:nvSpPr>
          <p:cNvPr id="9" name="Textbox 3"/>
          <p:cNvSpPr>
            <a:spLocks noChangeAspect="1"/>
          </p:cNvSpPr>
          <p:nvPr/>
        </p:nvSpPr>
        <p:spPr>
          <a:xfrm>
            <a:off x="2196592" y="9049931"/>
            <a:ext cx="2617216" cy="172098"/>
          </a:xfrm>
          <a:prstGeom prst="rect">
            <a:avLst/>
          </a:prstGeom>
        </p:spPr>
        <p:txBody>
          <a:bodyPr wrap="square" lIns="93177" tIns="46589" rIns="93177" bIns="46589" anchor="b" anchorCtr="0">
            <a:spAutoFit/>
          </a:bodyPr>
          <a:lstStyle/>
          <a:p>
            <a:pPr algn="ctr" defTabSz="279532" eaLnBrk="0" hangingPunct="0">
              <a:defRPr/>
            </a:pPr>
            <a:r>
              <a:rPr lang="en-US" sz="500" kern="300" spc="52" dirty="0">
                <a:solidFill>
                  <a:srgbClr val="0871B1"/>
                </a:solidFill>
                <a:latin typeface="Calibri" panose="020F0502020204030204" pitchFamily="34" charset="0"/>
                <a:ea typeface="Calibri" charset="0"/>
                <a:cs typeface="Arial" panose="020B0604020202020204" pitchFamily="34" charset="0"/>
              </a:rPr>
              <a:t>Copyright © 2019 Scott Mongeau All rights reserved.</a:t>
            </a:r>
          </a:p>
        </p:txBody>
      </p:sp>
      <p:pic>
        <p:nvPicPr>
          <p:cNvPr id="6"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0007" y="0"/>
            <a:ext cx="2570386" cy="1265297"/>
          </a:xfrm>
          <a:prstGeom prst="rect">
            <a:avLst/>
          </a:prstGeom>
        </p:spPr>
      </p:pic>
      <p:pic>
        <p:nvPicPr>
          <p:cNvPr id="7"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245" y="8932265"/>
            <a:ext cx="571196" cy="258224"/>
          </a:xfrm>
          <a:prstGeom prst="rect">
            <a:avLst/>
          </a:prstGeom>
        </p:spPr>
      </p:pic>
    </p:spTree>
    <p:extLst>
      <p:ext uri="{BB962C8B-B14F-4D97-AF65-F5344CB8AC3E}">
        <p14:creationId xmlns:p14="http://schemas.microsoft.com/office/powerpoint/2010/main" val="28230595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1"/>
          <p:cNvSpPr>
            <a:spLocks noGrp="1" noRot="1" noChangeAspect="1"/>
          </p:cNvSpPr>
          <p:nvPr>
            <p:ph type="sldImg" idx="2"/>
          </p:nvPr>
        </p:nvSpPr>
        <p:spPr>
          <a:xfrm>
            <a:off x="671513" y="1181100"/>
            <a:ext cx="5667375" cy="3187700"/>
          </a:xfrm>
          <a:prstGeom prst="rect">
            <a:avLst/>
          </a:prstGeom>
          <a:noFill/>
          <a:ln w="12700">
            <a:solidFill>
              <a:schemeClr val="bg1">
                <a:lumMod val="85000"/>
              </a:schemeClr>
            </a:solidFill>
          </a:ln>
        </p:spPr>
        <p:txBody>
          <a:bodyPr vert="horz" lIns="93177" tIns="46589" rIns="93177" bIns="46589" rtlCol="0" anchor="ctr"/>
          <a:lstStyle/>
          <a:p>
            <a:endParaRPr lang="en-US" dirty="0"/>
          </a:p>
        </p:txBody>
      </p:sp>
      <p:sp>
        <p:nvSpPr>
          <p:cNvPr id="5" name="Notes Placeholder 2"/>
          <p:cNvSpPr>
            <a:spLocks noGrp="1"/>
          </p:cNvSpPr>
          <p:nvPr>
            <p:ph type="body" sz="quarter" idx="3"/>
          </p:nvPr>
        </p:nvSpPr>
        <p:spPr>
          <a:xfrm>
            <a:off x="649631" y="4545939"/>
            <a:ext cx="5711139" cy="4174084"/>
          </a:xfrm>
          <a:prstGeom prst="rect">
            <a:avLst/>
          </a:prstGeom>
        </p:spPr>
        <p:txBody>
          <a:bodyPr vert="horz" lIns="46589" tIns="46589" rIns="46589" bIns="46589" rtlCol="0">
            <a:noAutofit/>
          </a:bodyPr>
          <a:lstStyle/>
          <a:p>
            <a:pPr lvl="0"/>
            <a:r>
              <a:rPr lang="en-US" dirty="0"/>
              <a:t>Click to edit Master text styles</a:t>
            </a:r>
          </a:p>
          <a:p>
            <a:pPr lvl="1"/>
            <a:r>
              <a:rPr lang="en-US" dirty="0"/>
              <a:t>Second level</a:t>
            </a:r>
          </a:p>
          <a:p>
            <a:pPr lvl="2"/>
            <a:r>
              <a:rPr lang="en-US" dirty="0"/>
              <a:t>Third level</a:t>
            </a:r>
          </a:p>
        </p:txBody>
      </p:sp>
      <p:sp>
        <p:nvSpPr>
          <p:cNvPr id="10" name="Slide Number Placeholder 3"/>
          <p:cNvSpPr txBox="1">
            <a:spLocks noChangeAspect="1"/>
          </p:cNvSpPr>
          <p:nvPr/>
        </p:nvSpPr>
        <p:spPr>
          <a:xfrm>
            <a:off x="0" y="8822841"/>
            <a:ext cx="7010400" cy="473559"/>
          </a:xfrm>
          <a:prstGeom prst="rect">
            <a:avLst/>
          </a:prstGeom>
          <a:gradFill>
            <a:gsLst>
              <a:gs pos="0">
                <a:srgbClr val="00517E"/>
              </a:gs>
              <a:gs pos="100000">
                <a:srgbClr val="04304B"/>
              </a:gs>
            </a:gsLst>
            <a:path path="circle">
              <a:fillToRect l="50000" t="50000" r="50000" b="50000"/>
            </a:path>
          </a:gradFill>
        </p:spPr>
        <p:txBody>
          <a:bodyPr vert="horz" lIns="279532" tIns="94724" rIns="93177" bIns="94724" rtlCol="0" anchor="ctr"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86355"/>
            <a:r>
              <a:rPr lang="en-US" sz="1000" dirty="0">
                <a:solidFill>
                  <a:schemeClr val="bg1"/>
                </a:solidFill>
              </a:rPr>
              <a:t>Page </a:t>
            </a:r>
            <a:fld id="{114C7B2E-8ACE-7A49-BC19-183EB2D79019}" type="slidenum">
              <a:rPr lang="en-US" sz="1000" smtClean="0">
                <a:solidFill>
                  <a:schemeClr val="bg1"/>
                </a:solidFill>
              </a:rPr>
              <a:pPr algn="l" defTabSz="186355"/>
              <a:t>‹#›</a:t>
            </a:fld>
            <a:endParaRPr lang="en-US" sz="1000" dirty="0">
              <a:solidFill>
                <a:schemeClr val="bg1"/>
              </a:solidFill>
            </a:endParaRPr>
          </a:p>
        </p:txBody>
      </p:sp>
      <p:sp>
        <p:nvSpPr>
          <p:cNvPr id="11" name="Textbox 4"/>
          <p:cNvSpPr>
            <a:spLocks noChangeAspect="1"/>
          </p:cNvSpPr>
          <p:nvPr/>
        </p:nvSpPr>
        <p:spPr>
          <a:xfrm>
            <a:off x="2196592" y="9051056"/>
            <a:ext cx="2617216" cy="172098"/>
          </a:xfrm>
          <a:prstGeom prst="rect">
            <a:avLst/>
          </a:prstGeom>
        </p:spPr>
        <p:txBody>
          <a:bodyPr wrap="square" lIns="93177" tIns="46589" rIns="93177" bIns="46589" anchor="b" anchorCtr="0">
            <a:spAutoFit/>
          </a:bodyPr>
          <a:lstStyle/>
          <a:p>
            <a:pPr algn="ctr" defTabSz="279532" eaLnBrk="0" hangingPunct="0">
              <a:defRPr/>
            </a:pPr>
            <a:r>
              <a:rPr lang="en-US" sz="500" kern="300" spc="52" dirty="0">
                <a:solidFill>
                  <a:srgbClr val="0871B1"/>
                </a:solidFill>
                <a:latin typeface="Calibri" panose="020F0502020204030204" pitchFamily="34" charset="0"/>
                <a:ea typeface="Calibri" charset="0"/>
                <a:cs typeface="Arial" panose="020B0604020202020204" pitchFamily="34" charset="0"/>
              </a:rPr>
              <a:t>Copyright © 2019 Scott Mongeau All rights reserved.</a:t>
            </a:r>
          </a:p>
        </p:txBody>
      </p:sp>
      <p:sp>
        <p:nvSpPr>
          <p:cNvPr id="2" name="TextBox 5"/>
          <p:cNvSpPr txBox="1"/>
          <p:nvPr/>
        </p:nvSpPr>
        <p:spPr>
          <a:xfrm>
            <a:off x="2548743" y="8878062"/>
            <a:ext cx="1912915" cy="219035"/>
          </a:xfrm>
          <a:prstGeom prst="rect">
            <a:avLst/>
          </a:prstGeom>
          <a:noFill/>
        </p:spPr>
        <p:txBody>
          <a:bodyPr wrap="square" lIns="93177" tIns="46589" rIns="93177" bIns="46589" rtlCol="0" anchor="ctr">
            <a:spAutoFit/>
          </a:bodyPr>
          <a:lstStyle/>
          <a:p>
            <a:pPr algn="ctr" defTabSz="186355"/>
            <a:r>
              <a:rPr lang="en-US" sz="800" dirty="0">
                <a:solidFill>
                  <a:schemeClr val="bg1"/>
                </a:solidFill>
                <a:latin typeface="+mn-lt"/>
              </a:rPr>
              <a:t>sas.com</a:t>
            </a:r>
          </a:p>
        </p:txBody>
      </p:sp>
      <p:pic>
        <p:nvPicPr>
          <p:cNvPr id="3"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0007" y="0"/>
            <a:ext cx="2570386" cy="1265297"/>
          </a:xfrm>
          <a:prstGeom prst="rect">
            <a:avLst/>
          </a:prstGeom>
        </p:spPr>
      </p:pic>
      <p:pic>
        <p:nvPicPr>
          <p:cNvPr id="12"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245" y="8932265"/>
            <a:ext cx="571196" cy="258224"/>
          </a:xfrm>
          <a:prstGeom prst="rect">
            <a:avLst/>
          </a:prstGeom>
        </p:spPr>
      </p:pic>
    </p:spTree>
    <p:extLst>
      <p:ext uri="{BB962C8B-B14F-4D97-AF65-F5344CB8AC3E}">
        <p14:creationId xmlns:p14="http://schemas.microsoft.com/office/powerpoint/2010/main" val="323604440"/>
      </p:ext>
    </p:extLst>
  </p:cSld>
  <p:clrMap bg1="lt1" tx1="dk1" bg2="lt2" tx2="dk2" accent1="accent1" accent2="accent2" accent3="accent3" accent4="accent4" accent5="accent5" accent6="accent6" hlink="hlink" folHlink="folHlink"/>
  <p:hf hdr="0" ftr="0" dt="0"/>
  <p:notesStyle>
    <a:lvl1pPr marL="171450" indent="-182880" algn="l" defTabSz="365760" rtl="0" eaLnBrk="1" latinLnBrk="0" hangingPunct="1">
      <a:lnSpc>
        <a:spcPct val="85000"/>
      </a:lnSpc>
      <a:spcBef>
        <a:spcPts val="800"/>
      </a:spcBef>
      <a:buClr>
        <a:schemeClr val="tx1"/>
      </a:buClr>
      <a:buSzPct val="80000"/>
      <a:buFont typeface="Arial" charset="0"/>
      <a:buChar char="•"/>
      <a:defRPr sz="1200" kern="1200" baseline="0">
        <a:solidFill>
          <a:schemeClr val="tx1"/>
        </a:solidFill>
        <a:effectLst/>
        <a:latin typeface="+mn-lt"/>
        <a:ea typeface="+mn-ea"/>
        <a:cs typeface="Arial" pitchFamily="34" charset="0"/>
      </a:defRPr>
    </a:lvl1pPr>
    <a:lvl2pPr marL="342900" indent="-182880" algn="l" defTabSz="365760" rtl="0" eaLnBrk="1" latinLnBrk="0" hangingPunct="1">
      <a:lnSpc>
        <a:spcPct val="85000"/>
      </a:lnSpc>
      <a:spcBef>
        <a:spcPts val="800"/>
      </a:spcBef>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2pPr>
    <a:lvl3pPr marL="515938" indent="-182880" algn="l" defTabSz="365760" rtl="0" eaLnBrk="1" latinLnBrk="0" hangingPunct="1">
      <a:lnSpc>
        <a:spcPct val="85000"/>
      </a:lnSpc>
      <a:spcBef>
        <a:spcPts val="800"/>
      </a:spcBef>
      <a:buClr>
        <a:schemeClr val="tx1">
          <a:lumMod val="65000"/>
          <a:lumOff val="35000"/>
        </a:schemeClr>
      </a:buClr>
      <a:buSzPct val="100000"/>
      <a:buFont typeface="Calibri" panose="020F0502020204030204" pitchFamily="34" charset="0"/>
      <a:buChar char="-"/>
      <a:tabLst/>
      <a:defRPr sz="1200" kern="1200" baseline="0">
        <a:solidFill>
          <a:schemeClr val="tx1">
            <a:lumMod val="65000"/>
            <a:lumOff val="35000"/>
          </a:schemeClr>
        </a:solidFill>
        <a:latin typeface="+mn-lt"/>
        <a:ea typeface="+mn-ea"/>
        <a:cs typeface="Arial" pitchFamily="34" charset="0"/>
      </a:defRPr>
    </a:lvl3pPr>
    <a:lvl4pPr marL="688975" indent="-173038" algn="l" defTabSz="685800" rtl="0" eaLnBrk="1" latinLnBrk="0" hangingPunct="1">
      <a:lnSpc>
        <a:spcPct val="100000"/>
      </a:lnSpc>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4pPr>
    <a:lvl5pPr marL="860425" indent="-165100" algn="l" defTabSz="685800" rtl="0" eaLnBrk="1" latinLnBrk="0" hangingPunct="1">
      <a:lnSpc>
        <a:spcPct val="100000"/>
      </a:lnSpc>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1513" y="1181100"/>
            <a:ext cx="5667375" cy="31877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324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lstStyle/>
          <a:p>
            <a:pPr marL="0" marR="0" indent="0" algn="l" defTabSz="182880" rtl="0" eaLnBrk="1" fontAlgn="auto" latinLnBrk="0" hangingPunct="1">
              <a:lnSpc>
                <a:spcPct val="100000"/>
              </a:lnSpc>
              <a:spcBef>
                <a:spcPts val="0"/>
              </a:spcBef>
              <a:spcAft>
                <a:spcPts val="0"/>
              </a:spcAft>
              <a:buClrTx/>
              <a:buSzTx/>
              <a:buFontTx/>
              <a:buNone/>
              <a:tabLst/>
              <a:defRPr/>
            </a:pPr>
            <a:r>
              <a:rPr lang="en-GB" sz="1200" b="0" dirty="0"/>
              <a:t>KYC, Device</a:t>
            </a:r>
            <a:r>
              <a:rPr lang="en-GB" sz="1200" b="0" baseline="0" dirty="0"/>
              <a:t> recognition and Credit check are not part of the Fraud Framework</a:t>
            </a:r>
          </a:p>
          <a:p>
            <a:pPr marL="0" marR="0" indent="0" algn="l" defTabSz="182880" rtl="0" eaLnBrk="1" fontAlgn="auto" latinLnBrk="0" hangingPunct="1">
              <a:lnSpc>
                <a:spcPct val="100000"/>
              </a:lnSpc>
              <a:spcBef>
                <a:spcPts val="0"/>
              </a:spcBef>
              <a:spcAft>
                <a:spcPts val="0"/>
              </a:spcAft>
              <a:buClrTx/>
              <a:buSzTx/>
              <a:buFontTx/>
              <a:buNone/>
              <a:tabLst/>
              <a:defRPr/>
            </a:pPr>
            <a:endParaRPr lang="en-GB" sz="1200" b="0" baseline="0" dirty="0"/>
          </a:p>
          <a:p>
            <a:pPr marL="0" marR="0" indent="0" algn="l" defTabSz="182880" rtl="0" eaLnBrk="1" fontAlgn="auto" latinLnBrk="0" hangingPunct="1">
              <a:lnSpc>
                <a:spcPct val="100000"/>
              </a:lnSpc>
              <a:spcBef>
                <a:spcPts val="0"/>
              </a:spcBef>
              <a:spcAft>
                <a:spcPts val="0"/>
              </a:spcAft>
              <a:buClrTx/>
              <a:buSzTx/>
              <a:buFontTx/>
              <a:buNone/>
              <a:tabLst/>
              <a:defRPr/>
            </a:pPr>
            <a:r>
              <a:rPr lang="en-GB" sz="1200" b="0" baseline="0" dirty="0"/>
              <a:t>KYC/CDD can be provided but involves additional SAS products (AML)</a:t>
            </a:r>
          </a:p>
          <a:p>
            <a:pPr marL="0" marR="0" indent="0" algn="l" defTabSz="182880" rtl="0" eaLnBrk="1" fontAlgn="auto" latinLnBrk="0" hangingPunct="1">
              <a:lnSpc>
                <a:spcPct val="100000"/>
              </a:lnSpc>
              <a:spcBef>
                <a:spcPts val="0"/>
              </a:spcBef>
              <a:spcAft>
                <a:spcPts val="0"/>
              </a:spcAft>
              <a:buClrTx/>
              <a:buSzTx/>
              <a:buFontTx/>
              <a:buNone/>
              <a:tabLst/>
              <a:defRPr/>
            </a:pPr>
            <a:endParaRPr lang="en-GB" sz="1200" b="0" baseline="0" dirty="0"/>
          </a:p>
          <a:p>
            <a:pPr marL="0" marR="0" indent="0" algn="l" defTabSz="182880" rtl="0" eaLnBrk="1" fontAlgn="auto" latinLnBrk="0" hangingPunct="1">
              <a:lnSpc>
                <a:spcPct val="100000"/>
              </a:lnSpc>
              <a:spcBef>
                <a:spcPts val="0"/>
              </a:spcBef>
              <a:spcAft>
                <a:spcPts val="0"/>
              </a:spcAft>
              <a:buClrTx/>
              <a:buSzTx/>
              <a:buFontTx/>
              <a:buNone/>
              <a:tabLst/>
              <a:defRPr/>
            </a:pPr>
            <a:r>
              <a:rPr lang="en-GB" sz="1200" b="0" baseline="0" dirty="0"/>
              <a:t>Device recognition data can also be supported if required</a:t>
            </a:r>
            <a:endParaRPr lang="en-GB" sz="1200" b="0"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BAE402D1-88AD-43C2-B8BB-8C7904BBCA11}" type="slidenum">
              <a:rPr lang="en-US" smtClean="0"/>
              <a:pPr/>
              <a:t>35</a:t>
            </a:fld>
            <a:endParaRPr lang="en-US" dirty="0"/>
          </a:p>
        </p:txBody>
      </p:sp>
    </p:spTree>
    <p:extLst>
      <p:ext uri="{BB962C8B-B14F-4D97-AF65-F5344CB8AC3E}">
        <p14:creationId xmlns:p14="http://schemas.microsoft.com/office/powerpoint/2010/main" val="3217022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1241425"/>
            <a:ext cx="5946775" cy="3344863"/>
          </a:xfrm>
          <a:prstGeom prst="rect">
            <a:avLst/>
          </a:prstGeom>
        </p:spPr>
      </p:sp>
      <p:sp>
        <p:nvSpPr>
          <p:cNvPr id="3" name="Notes Placeholder 2"/>
          <p:cNvSpPr>
            <a:spLocks noGrp="1"/>
          </p:cNvSpPr>
          <p:nvPr>
            <p:ph type="body" idx="1"/>
          </p:nvPr>
        </p:nvSpPr>
        <p:spPr>
          <a:xfrm>
            <a:off x="692939" y="4773237"/>
            <a:ext cx="6091882" cy="4382788"/>
          </a:xfrm>
          <a:prstGeom prst="rect">
            <a:avLst/>
          </a:prstGeom>
        </p:spPr>
        <p:txBody>
          <a:bodyPr/>
          <a:lstStyle/>
          <a:p>
            <a:endParaRPr lang="en-US" dirty="0"/>
          </a:p>
        </p:txBody>
      </p:sp>
    </p:spTree>
    <p:extLst>
      <p:ext uri="{BB962C8B-B14F-4D97-AF65-F5344CB8AC3E}">
        <p14:creationId xmlns:p14="http://schemas.microsoft.com/office/powerpoint/2010/main" val="315022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1513" y="1181100"/>
            <a:ext cx="5667375" cy="3187700"/>
          </a:xfrm>
          <a:prstGeom prst="rect">
            <a:avLst/>
          </a:prstGeom>
        </p:spPr>
      </p:sp>
      <p:sp>
        <p:nvSpPr>
          <p:cNvPr id="3" name="Notes Placeholder 2"/>
          <p:cNvSpPr>
            <a:spLocks noGrp="1"/>
          </p:cNvSpPr>
          <p:nvPr>
            <p:ph type="body" idx="1"/>
          </p:nvPr>
        </p:nvSpPr>
        <p:spPr>
          <a:xfrm>
            <a:off x="649631" y="4545939"/>
            <a:ext cx="5711139" cy="4174084"/>
          </a:xfrm>
          <a:prstGeom prst="rect">
            <a:avLst/>
          </a:prstGeom>
        </p:spPr>
        <p:txBody>
          <a:bodyPr/>
          <a:lstStyle/>
          <a:p>
            <a:endParaRPr lang="en-US" dirty="0"/>
          </a:p>
        </p:txBody>
      </p:sp>
    </p:spTree>
    <p:extLst>
      <p:ext uri="{BB962C8B-B14F-4D97-AF65-F5344CB8AC3E}">
        <p14:creationId xmlns:p14="http://schemas.microsoft.com/office/powerpoint/2010/main" val="1598430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AS - 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152144" y="1799049"/>
            <a:ext cx="6611112" cy="584775"/>
          </a:xfrm>
        </p:spPr>
        <p:txBody>
          <a:bodyPr anchor="b" anchorCtr="0">
            <a:spAutoFit/>
          </a:bodyPr>
          <a:lstStyle>
            <a:lvl1pPr algn="l">
              <a:defRPr sz="3200" cap="none" baseline="0">
                <a:solidFill>
                  <a:schemeClr val="bg1"/>
                </a:solidFill>
              </a:defRPr>
            </a:lvl1pPr>
          </a:lstStyle>
          <a:p>
            <a:r>
              <a:rPr lang="en-US" dirty="0"/>
              <a:t>Click to Edit Title</a:t>
            </a:r>
          </a:p>
        </p:txBody>
      </p:sp>
      <p:sp>
        <p:nvSpPr>
          <p:cNvPr id="8" name="Subtitle 2"/>
          <p:cNvSpPr>
            <a:spLocks noGrp="1"/>
          </p:cNvSpPr>
          <p:nvPr>
            <p:ph type="body" sz="quarter" idx="13" hasCustomPrompt="1"/>
          </p:nvPr>
        </p:nvSpPr>
        <p:spPr>
          <a:xfrm>
            <a:off x="1152144" y="2383824"/>
            <a:ext cx="6611112" cy="353943"/>
          </a:xfrm>
        </p:spPr>
        <p:txBody>
          <a:bodyPr wrap="square" anchor="t">
            <a:spAutoFit/>
          </a:bodyPr>
          <a:lstStyle>
            <a:lvl1pPr marL="0" indent="-182880" algn="l">
              <a:lnSpc>
                <a:spcPct val="85000"/>
              </a:lnSpc>
              <a:spcBef>
                <a:spcPts val="800"/>
              </a:spcBef>
              <a:buFont typeface="Arial" pitchFamily="34" charset="0"/>
              <a:buNone/>
              <a:defRPr sz="2000" b="0" cap="none" baseline="0">
                <a:solidFill>
                  <a:schemeClr val="bg1"/>
                </a:solidFill>
                <a:latin typeface="+mn-lt"/>
              </a:defRPr>
            </a:lvl1pPr>
          </a:lstStyle>
          <a:p>
            <a:pPr lvl="0"/>
            <a:r>
              <a:rPr lang="en-US" dirty="0"/>
              <a:t>Click to edit subtitle</a:t>
            </a:r>
          </a:p>
        </p:txBody>
      </p:sp>
      <p:pic>
        <p:nvPicPr>
          <p:cNvPr id="9"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920804" cy="1806509"/>
          </a:xfrm>
          <a:prstGeom prst="rect">
            <a:avLst/>
          </a:prstGeom>
        </p:spPr>
      </p:pic>
    </p:spTree>
    <p:extLst>
      <p:ext uri="{BB962C8B-B14F-4D97-AF65-F5344CB8AC3E}">
        <p14:creationId xmlns:p14="http://schemas.microsoft.com/office/powerpoint/2010/main" val="177837904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AS - Dark Blue Section Header">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2998"/>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ext uri="{BB962C8B-B14F-4D97-AF65-F5344CB8AC3E}">
        <p14:creationId xmlns:p14="http://schemas.microsoft.com/office/powerpoint/2010/main" val="76372309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AS - Green Section Header">
    <p:bg>
      <p:bgPr>
        <a:gradFill>
          <a:gsLst>
            <a:gs pos="0">
              <a:srgbClr val="90B328"/>
            </a:gs>
            <a:gs pos="100000">
              <a:srgbClr val="4B7C1A"/>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9EC62C"/>
                </a:solidFill>
                <a:effectLst/>
                <a:uLnTx/>
                <a:uFillTx/>
                <a:latin typeface="+mn-lt"/>
                <a:ea typeface="Calibri" charset="0"/>
                <a:cs typeface="Arial" panose="020B0604020202020204" pitchFamily="34" charset="0"/>
              </a:rPr>
              <a:t>Copyright © 2019 Scott Mongeau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ext uri="{BB962C8B-B14F-4D97-AF65-F5344CB8AC3E}">
        <p14:creationId xmlns:p14="http://schemas.microsoft.com/office/powerpoint/2010/main" val="42750393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AS - Aquamarine Section Header">
    <p:bg>
      <p:bgPr>
        <a:gradFill>
          <a:gsLst>
            <a:gs pos="0">
              <a:srgbClr val="00B08D"/>
            </a:gs>
            <a:gs pos="100000">
              <a:srgbClr val="018566"/>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0CCA5"/>
                </a:solidFill>
                <a:effectLst/>
                <a:uLnTx/>
                <a:uFillTx/>
                <a:latin typeface="+mn-lt"/>
                <a:ea typeface="Calibri" charset="0"/>
                <a:cs typeface="Arial" panose="020B0604020202020204" pitchFamily="34" charset="0"/>
              </a:rPr>
              <a:t>Copyright © 2019 Scott Mongeau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ext uri="{BB962C8B-B14F-4D97-AF65-F5344CB8AC3E}">
        <p14:creationId xmlns:p14="http://schemas.microsoft.com/office/powerpoint/2010/main" val="361844816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AS - Light Blue Section Header">
    <p:bg>
      <p:bgPr>
        <a:gradFill>
          <a:gsLst>
            <a:gs pos="0">
              <a:srgbClr val="61BAE9"/>
            </a:gs>
            <a:gs pos="100000">
              <a:srgbClr val="006A9F"/>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53C6FF"/>
                </a:solidFill>
                <a:effectLst/>
                <a:uLnTx/>
                <a:uFillTx/>
                <a:latin typeface="+mn-lt"/>
                <a:ea typeface="Calibri" charset="0"/>
                <a:cs typeface="Arial" panose="020B0604020202020204" pitchFamily="34" charset="0"/>
              </a:rPr>
              <a:t>Copyright © 2019 Scott Mongeau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ext uri="{BB962C8B-B14F-4D97-AF65-F5344CB8AC3E}">
        <p14:creationId xmlns:p14="http://schemas.microsoft.com/office/powerpoint/2010/main" val="3199546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AS - Violet Section Header">
    <p:bg>
      <p:bgPr>
        <a:gradFill>
          <a:gsLst>
            <a:gs pos="0">
              <a:srgbClr val="3D5AAE"/>
            </a:gs>
            <a:gs pos="100000">
              <a:srgbClr val="2C367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727DCC"/>
                </a:solidFill>
                <a:effectLst/>
                <a:uLnTx/>
                <a:uFillTx/>
                <a:latin typeface="+mn-lt"/>
                <a:ea typeface="Calibri" charset="0"/>
                <a:cs typeface="Arial" panose="020B0604020202020204" pitchFamily="34" charset="0"/>
              </a:rPr>
              <a:t>Copyright © 2019 Scott Mongeau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ext uri="{BB962C8B-B14F-4D97-AF65-F5344CB8AC3E}">
        <p14:creationId xmlns:p14="http://schemas.microsoft.com/office/powerpoint/2010/main" val="3653574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AS - Closing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0" y="2120427"/>
            <a:ext cx="9144000" cy="584775"/>
          </a:xfrm>
        </p:spPr>
        <p:txBody>
          <a:bodyPr anchor="ctr" anchorCtr="0">
            <a:spAutoFit/>
          </a:bodyPr>
          <a:lstStyle>
            <a:lvl1pPr algn="ctr">
              <a:defRPr sz="3200" baseline="0">
                <a:solidFill>
                  <a:schemeClr val="bg1"/>
                </a:solidFill>
                <a:latin typeface="+mj-lt"/>
              </a:defRPr>
            </a:lvl1pPr>
          </a:lstStyle>
          <a:p>
            <a:r>
              <a:rPr lang="en-US" dirty="0"/>
              <a:t>Click to Edit Title</a:t>
            </a:r>
          </a:p>
        </p:txBody>
      </p:sp>
      <p:sp>
        <p:nvSpPr>
          <p:cNvPr id="3" name="TextBox 2">
            <a:hlinkClick r:id="rId3"/>
          </p:cNvPr>
          <p:cNvSpPr txBox="1"/>
          <p:nvPr/>
        </p:nvSpPr>
        <p:spPr>
          <a:xfrm>
            <a:off x="-4574" y="3943877"/>
            <a:ext cx="9144003" cy="369332"/>
          </a:xfrm>
          <a:prstGeom prst="rect">
            <a:avLst/>
          </a:prstGeom>
          <a:noFill/>
        </p:spPr>
        <p:txBody>
          <a:bodyPr wrap="square" rtlCol="0" anchor="b" anchorCtr="0">
            <a:spAutoFit/>
          </a:bodyPr>
          <a:lstStyle/>
          <a:p>
            <a:pPr algn="ctr" defTabSz="182880"/>
            <a:r>
              <a:rPr lang="en-US" sz="1800" baseline="0" dirty="0">
                <a:solidFill>
                  <a:schemeClr val="bg1"/>
                </a:solidFill>
              </a:rPr>
              <a:t>sas.com</a:t>
            </a:r>
          </a:p>
        </p:txBody>
      </p:sp>
      <p:sp>
        <p:nvSpPr>
          <p:cNvPr id="6" name="TextBox 3"/>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pic>
        <p:nvPicPr>
          <p:cNvPr id="4"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920804" cy="1806509"/>
          </a:xfrm>
          <a:prstGeom prst="rect">
            <a:avLst/>
          </a:prstGeom>
        </p:spPr>
      </p:pic>
      <p:grpSp>
        <p:nvGrpSpPr>
          <p:cNvPr id="7" name="Group 6"/>
          <p:cNvGrpSpPr/>
          <p:nvPr userDrawn="1"/>
        </p:nvGrpSpPr>
        <p:grpSpPr>
          <a:xfrm>
            <a:off x="8017883" y="4527567"/>
            <a:ext cx="844014" cy="449260"/>
            <a:chOff x="7048500" y="4889500"/>
            <a:chExt cx="1622426" cy="863600"/>
          </a:xfrm>
        </p:grpSpPr>
        <p:sp>
          <p:nvSpPr>
            <p:cNvPr id="9" name="Freeform 6"/>
            <p:cNvSpPr>
              <a:spLocks/>
            </p:cNvSpPr>
            <p:nvPr userDrawn="1"/>
          </p:nvSpPr>
          <p:spPr bwMode="auto">
            <a:xfrm>
              <a:off x="7089775" y="5645150"/>
              <a:ext cx="87313" cy="100013"/>
            </a:xfrm>
            <a:custGeom>
              <a:avLst/>
              <a:gdLst>
                <a:gd name="T0" fmla="*/ 0 w 218"/>
                <a:gd name="T1" fmla="*/ 0 h 249"/>
                <a:gd name="T2" fmla="*/ 218 w 218"/>
                <a:gd name="T3" fmla="*/ 0 h 249"/>
                <a:gd name="T4" fmla="*/ 218 w 218"/>
                <a:gd name="T5" fmla="*/ 63 h 249"/>
                <a:gd name="T6" fmla="*/ 147 w 218"/>
                <a:gd name="T7" fmla="*/ 63 h 249"/>
                <a:gd name="T8" fmla="*/ 147 w 218"/>
                <a:gd name="T9" fmla="*/ 249 h 249"/>
                <a:gd name="T10" fmla="*/ 71 w 218"/>
                <a:gd name="T11" fmla="*/ 249 h 249"/>
                <a:gd name="T12" fmla="*/ 71 w 218"/>
                <a:gd name="T13" fmla="*/ 63 h 249"/>
                <a:gd name="T14" fmla="*/ 0 w 218"/>
                <a:gd name="T15" fmla="*/ 63 h 249"/>
                <a:gd name="T16" fmla="*/ 0 w 218"/>
                <a:gd name="T1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249">
                  <a:moveTo>
                    <a:pt x="0" y="0"/>
                  </a:moveTo>
                  <a:lnTo>
                    <a:pt x="218" y="0"/>
                  </a:lnTo>
                  <a:lnTo>
                    <a:pt x="218" y="63"/>
                  </a:lnTo>
                  <a:lnTo>
                    <a:pt x="147" y="63"/>
                  </a:lnTo>
                  <a:lnTo>
                    <a:pt x="147" y="249"/>
                  </a:lnTo>
                  <a:lnTo>
                    <a:pt x="71" y="249"/>
                  </a:lnTo>
                  <a:lnTo>
                    <a:pt x="71" y="63"/>
                  </a:lnTo>
                  <a:lnTo>
                    <a:pt x="0" y="6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userDrawn="1"/>
          </p:nvSpPr>
          <p:spPr bwMode="auto">
            <a:xfrm>
              <a:off x="7185025" y="5645150"/>
              <a:ext cx="88900" cy="100013"/>
            </a:xfrm>
            <a:custGeom>
              <a:avLst/>
              <a:gdLst>
                <a:gd name="T0" fmla="*/ 0 w 227"/>
                <a:gd name="T1" fmla="*/ 0 h 249"/>
                <a:gd name="T2" fmla="*/ 77 w 227"/>
                <a:gd name="T3" fmla="*/ 0 h 249"/>
                <a:gd name="T4" fmla="*/ 77 w 227"/>
                <a:gd name="T5" fmla="*/ 86 h 249"/>
                <a:gd name="T6" fmla="*/ 149 w 227"/>
                <a:gd name="T7" fmla="*/ 86 h 249"/>
                <a:gd name="T8" fmla="*/ 149 w 227"/>
                <a:gd name="T9" fmla="*/ 0 h 249"/>
                <a:gd name="T10" fmla="*/ 227 w 227"/>
                <a:gd name="T11" fmla="*/ 0 h 249"/>
                <a:gd name="T12" fmla="*/ 227 w 227"/>
                <a:gd name="T13" fmla="*/ 249 h 249"/>
                <a:gd name="T14" fmla="*/ 149 w 227"/>
                <a:gd name="T15" fmla="*/ 249 h 249"/>
                <a:gd name="T16" fmla="*/ 149 w 227"/>
                <a:gd name="T17" fmla="*/ 150 h 249"/>
                <a:gd name="T18" fmla="*/ 77 w 227"/>
                <a:gd name="T19" fmla="*/ 150 h 249"/>
                <a:gd name="T20" fmla="*/ 77 w 227"/>
                <a:gd name="T21" fmla="*/ 249 h 249"/>
                <a:gd name="T22" fmla="*/ 0 w 227"/>
                <a:gd name="T23" fmla="*/ 249 h 249"/>
                <a:gd name="T24" fmla="*/ 0 w 227"/>
                <a:gd name="T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249">
                  <a:moveTo>
                    <a:pt x="0" y="0"/>
                  </a:moveTo>
                  <a:lnTo>
                    <a:pt x="77" y="0"/>
                  </a:lnTo>
                  <a:lnTo>
                    <a:pt x="77" y="86"/>
                  </a:lnTo>
                  <a:lnTo>
                    <a:pt x="149" y="86"/>
                  </a:lnTo>
                  <a:lnTo>
                    <a:pt x="149" y="0"/>
                  </a:lnTo>
                  <a:lnTo>
                    <a:pt x="227" y="0"/>
                  </a:lnTo>
                  <a:lnTo>
                    <a:pt x="227" y="249"/>
                  </a:lnTo>
                  <a:lnTo>
                    <a:pt x="149" y="249"/>
                  </a:lnTo>
                  <a:lnTo>
                    <a:pt x="149" y="150"/>
                  </a:lnTo>
                  <a:lnTo>
                    <a:pt x="77" y="150"/>
                  </a:lnTo>
                  <a:lnTo>
                    <a:pt x="77"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userDrawn="1"/>
          </p:nvSpPr>
          <p:spPr bwMode="auto">
            <a:xfrm>
              <a:off x="7285038" y="5645150"/>
              <a:ext cx="82550" cy="100013"/>
            </a:xfrm>
            <a:custGeom>
              <a:avLst/>
              <a:gdLst>
                <a:gd name="T0" fmla="*/ 0 w 212"/>
                <a:gd name="T1" fmla="*/ 0 h 249"/>
                <a:gd name="T2" fmla="*/ 208 w 212"/>
                <a:gd name="T3" fmla="*/ 0 h 249"/>
                <a:gd name="T4" fmla="*/ 208 w 212"/>
                <a:gd name="T5" fmla="*/ 63 h 249"/>
                <a:gd name="T6" fmla="*/ 78 w 212"/>
                <a:gd name="T7" fmla="*/ 63 h 249"/>
                <a:gd name="T8" fmla="*/ 78 w 212"/>
                <a:gd name="T9" fmla="*/ 94 h 249"/>
                <a:gd name="T10" fmla="*/ 196 w 212"/>
                <a:gd name="T11" fmla="*/ 94 h 249"/>
                <a:gd name="T12" fmla="*/ 196 w 212"/>
                <a:gd name="T13" fmla="*/ 154 h 249"/>
                <a:gd name="T14" fmla="*/ 78 w 212"/>
                <a:gd name="T15" fmla="*/ 154 h 249"/>
                <a:gd name="T16" fmla="*/ 78 w 212"/>
                <a:gd name="T17" fmla="*/ 185 h 249"/>
                <a:gd name="T18" fmla="*/ 212 w 212"/>
                <a:gd name="T19" fmla="*/ 185 h 249"/>
                <a:gd name="T20" fmla="*/ 212 w 212"/>
                <a:gd name="T21" fmla="*/ 249 h 249"/>
                <a:gd name="T22" fmla="*/ 0 w 212"/>
                <a:gd name="T23" fmla="*/ 249 h 249"/>
                <a:gd name="T24" fmla="*/ 0 w 212"/>
                <a:gd name="T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249">
                  <a:moveTo>
                    <a:pt x="0" y="0"/>
                  </a:moveTo>
                  <a:lnTo>
                    <a:pt x="208" y="0"/>
                  </a:lnTo>
                  <a:lnTo>
                    <a:pt x="208" y="63"/>
                  </a:lnTo>
                  <a:lnTo>
                    <a:pt x="78" y="63"/>
                  </a:lnTo>
                  <a:lnTo>
                    <a:pt x="78" y="94"/>
                  </a:lnTo>
                  <a:lnTo>
                    <a:pt x="196" y="94"/>
                  </a:lnTo>
                  <a:lnTo>
                    <a:pt x="196" y="154"/>
                  </a:lnTo>
                  <a:lnTo>
                    <a:pt x="78" y="154"/>
                  </a:lnTo>
                  <a:lnTo>
                    <a:pt x="78" y="185"/>
                  </a:lnTo>
                  <a:lnTo>
                    <a:pt x="212" y="185"/>
                  </a:lnTo>
                  <a:lnTo>
                    <a:pt x="212"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noEditPoints="1"/>
            </p:cNvSpPr>
            <p:nvPr userDrawn="1"/>
          </p:nvSpPr>
          <p:spPr bwMode="auto">
            <a:xfrm>
              <a:off x="7426325" y="5645150"/>
              <a:ext cx="87313" cy="100013"/>
            </a:xfrm>
            <a:custGeom>
              <a:avLst/>
              <a:gdLst>
                <a:gd name="T0" fmla="*/ 77 w 221"/>
                <a:gd name="T1" fmla="*/ 63 h 249"/>
                <a:gd name="T2" fmla="*/ 77 w 221"/>
                <a:gd name="T3" fmla="*/ 114 h 249"/>
                <a:gd name="T4" fmla="*/ 107 w 221"/>
                <a:gd name="T5" fmla="*/ 114 h 249"/>
                <a:gd name="T6" fmla="*/ 117 w 221"/>
                <a:gd name="T7" fmla="*/ 114 h 249"/>
                <a:gd name="T8" fmla="*/ 126 w 221"/>
                <a:gd name="T9" fmla="*/ 113 h 249"/>
                <a:gd name="T10" fmla="*/ 135 w 221"/>
                <a:gd name="T11" fmla="*/ 111 h 249"/>
                <a:gd name="T12" fmla="*/ 142 w 221"/>
                <a:gd name="T13" fmla="*/ 106 h 249"/>
                <a:gd name="T14" fmla="*/ 146 w 221"/>
                <a:gd name="T15" fmla="*/ 98 h 249"/>
                <a:gd name="T16" fmla="*/ 148 w 221"/>
                <a:gd name="T17" fmla="*/ 87 h 249"/>
                <a:gd name="T18" fmla="*/ 146 w 221"/>
                <a:gd name="T19" fmla="*/ 76 h 249"/>
                <a:gd name="T20" fmla="*/ 141 w 221"/>
                <a:gd name="T21" fmla="*/ 69 h 249"/>
                <a:gd name="T22" fmla="*/ 132 w 221"/>
                <a:gd name="T23" fmla="*/ 66 h 249"/>
                <a:gd name="T24" fmla="*/ 122 w 221"/>
                <a:gd name="T25" fmla="*/ 63 h 249"/>
                <a:gd name="T26" fmla="*/ 111 w 221"/>
                <a:gd name="T27" fmla="*/ 63 h 249"/>
                <a:gd name="T28" fmla="*/ 77 w 221"/>
                <a:gd name="T29" fmla="*/ 63 h 249"/>
                <a:gd name="T30" fmla="*/ 0 w 221"/>
                <a:gd name="T31" fmla="*/ 0 h 249"/>
                <a:gd name="T32" fmla="*/ 128 w 221"/>
                <a:gd name="T33" fmla="*/ 0 h 249"/>
                <a:gd name="T34" fmla="*/ 152 w 221"/>
                <a:gd name="T35" fmla="*/ 1 h 249"/>
                <a:gd name="T36" fmla="*/ 172 w 221"/>
                <a:gd name="T37" fmla="*/ 7 h 249"/>
                <a:gd name="T38" fmla="*/ 188 w 221"/>
                <a:gd name="T39" fmla="*/ 17 h 249"/>
                <a:gd name="T40" fmla="*/ 201 w 221"/>
                <a:gd name="T41" fmla="*/ 28 h 249"/>
                <a:gd name="T42" fmla="*/ 209 w 221"/>
                <a:gd name="T43" fmla="*/ 42 h 249"/>
                <a:gd name="T44" fmla="*/ 216 w 221"/>
                <a:gd name="T45" fmla="*/ 56 h 249"/>
                <a:gd name="T46" fmla="*/ 219 w 221"/>
                <a:gd name="T47" fmla="*/ 71 h 249"/>
                <a:gd name="T48" fmla="*/ 221 w 221"/>
                <a:gd name="T49" fmla="*/ 84 h 249"/>
                <a:gd name="T50" fmla="*/ 218 w 221"/>
                <a:gd name="T51" fmla="*/ 108 h 249"/>
                <a:gd name="T52" fmla="*/ 212 w 221"/>
                <a:gd name="T53" fmla="*/ 129 h 249"/>
                <a:gd name="T54" fmla="*/ 201 w 221"/>
                <a:gd name="T55" fmla="*/ 145 h 249"/>
                <a:gd name="T56" fmla="*/ 186 w 221"/>
                <a:gd name="T57" fmla="*/ 158 h 249"/>
                <a:gd name="T58" fmla="*/ 167 w 221"/>
                <a:gd name="T59" fmla="*/ 167 h 249"/>
                <a:gd name="T60" fmla="*/ 146 w 221"/>
                <a:gd name="T61" fmla="*/ 172 h 249"/>
                <a:gd name="T62" fmla="*/ 122 w 221"/>
                <a:gd name="T63" fmla="*/ 174 h 249"/>
                <a:gd name="T64" fmla="*/ 77 w 221"/>
                <a:gd name="T65" fmla="*/ 174 h 249"/>
                <a:gd name="T66" fmla="*/ 77 w 221"/>
                <a:gd name="T67" fmla="*/ 249 h 249"/>
                <a:gd name="T68" fmla="*/ 0 w 221"/>
                <a:gd name="T69" fmla="*/ 249 h 249"/>
                <a:gd name="T70" fmla="*/ 0 w 221"/>
                <a:gd name="T71"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1" h="249">
                  <a:moveTo>
                    <a:pt x="77" y="63"/>
                  </a:moveTo>
                  <a:lnTo>
                    <a:pt x="77" y="114"/>
                  </a:lnTo>
                  <a:lnTo>
                    <a:pt x="107" y="114"/>
                  </a:lnTo>
                  <a:lnTo>
                    <a:pt x="117" y="114"/>
                  </a:lnTo>
                  <a:lnTo>
                    <a:pt x="126" y="113"/>
                  </a:lnTo>
                  <a:lnTo>
                    <a:pt x="135" y="111"/>
                  </a:lnTo>
                  <a:lnTo>
                    <a:pt x="142" y="106"/>
                  </a:lnTo>
                  <a:lnTo>
                    <a:pt x="146" y="98"/>
                  </a:lnTo>
                  <a:lnTo>
                    <a:pt x="148" y="87"/>
                  </a:lnTo>
                  <a:lnTo>
                    <a:pt x="146" y="76"/>
                  </a:lnTo>
                  <a:lnTo>
                    <a:pt x="141" y="69"/>
                  </a:lnTo>
                  <a:lnTo>
                    <a:pt x="132" y="66"/>
                  </a:lnTo>
                  <a:lnTo>
                    <a:pt x="122" y="63"/>
                  </a:lnTo>
                  <a:lnTo>
                    <a:pt x="111" y="63"/>
                  </a:lnTo>
                  <a:lnTo>
                    <a:pt x="77" y="63"/>
                  </a:lnTo>
                  <a:close/>
                  <a:moveTo>
                    <a:pt x="0" y="0"/>
                  </a:moveTo>
                  <a:lnTo>
                    <a:pt x="128" y="0"/>
                  </a:lnTo>
                  <a:lnTo>
                    <a:pt x="152" y="1"/>
                  </a:lnTo>
                  <a:lnTo>
                    <a:pt x="172" y="7"/>
                  </a:lnTo>
                  <a:lnTo>
                    <a:pt x="188" y="17"/>
                  </a:lnTo>
                  <a:lnTo>
                    <a:pt x="201" y="28"/>
                  </a:lnTo>
                  <a:lnTo>
                    <a:pt x="209" y="42"/>
                  </a:lnTo>
                  <a:lnTo>
                    <a:pt x="216" y="56"/>
                  </a:lnTo>
                  <a:lnTo>
                    <a:pt x="219" y="71"/>
                  </a:lnTo>
                  <a:lnTo>
                    <a:pt x="221" y="84"/>
                  </a:lnTo>
                  <a:lnTo>
                    <a:pt x="218" y="108"/>
                  </a:lnTo>
                  <a:lnTo>
                    <a:pt x="212" y="129"/>
                  </a:lnTo>
                  <a:lnTo>
                    <a:pt x="201" y="145"/>
                  </a:lnTo>
                  <a:lnTo>
                    <a:pt x="186" y="158"/>
                  </a:lnTo>
                  <a:lnTo>
                    <a:pt x="167" y="167"/>
                  </a:lnTo>
                  <a:lnTo>
                    <a:pt x="146" y="172"/>
                  </a:lnTo>
                  <a:lnTo>
                    <a:pt x="122" y="174"/>
                  </a:lnTo>
                  <a:lnTo>
                    <a:pt x="77" y="174"/>
                  </a:lnTo>
                  <a:lnTo>
                    <a:pt x="77"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noEditPoints="1"/>
            </p:cNvSpPr>
            <p:nvPr userDrawn="1"/>
          </p:nvSpPr>
          <p:spPr bwMode="auto">
            <a:xfrm>
              <a:off x="7516813" y="5643563"/>
              <a:ext cx="100013" cy="103188"/>
            </a:xfrm>
            <a:custGeom>
              <a:avLst/>
              <a:gdLst>
                <a:gd name="T0" fmla="*/ 126 w 253"/>
                <a:gd name="T1" fmla="*/ 63 h 262"/>
                <a:gd name="T2" fmla="*/ 117 w 253"/>
                <a:gd name="T3" fmla="*/ 64 h 262"/>
                <a:gd name="T4" fmla="*/ 108 w 253"/>
                <a:gd name="T5" fmla="*/ 66 h 262"/>
                <a:gd name="T6" fmla="*/ 98 w 253"/>
                <a:gd name="T7" fmla="*/ 71 h 262"/>
                <a:gd name="T8" fmla="*/ 90 w 253"/>
                <a:gd name="T9" fmla="*/ 80 h 262"/>
                <a:gd name="T10" fmla="*/ 84 w 253"/>
                <a:gd name="T11" fmla="*/ 93 h 262"/>
                <a:gd name="T12" fmla="*/ 79 w 253"/>
                <a:gd name="T13" fmla="*/ 110 h 262"/>
                <a:gd name="T14" fmla="*/ 76 w 253"/>
                <a:gd name="T15" fmla="*/ 131 h 262"/>
                <a:gd name="T16" fmla="*/ 79 w 253"/>
                <a:gd name="T17" fmla="*/ 152 h 262"/>
                <a:gd name="T18" fmla="*/ 84 w 253"/>
                <a:gd name="T19" fmla="*/ 169 h 262"/>
                <a:gd name="T20" fmla="*/ 90 w 253"/>
                <a:gd name="T21" fmla="*/ 181 h 262"/>
                <a:gd name="T22" fmla="*/ 98 w 253"/>
                <a:gd name="T23" fmla="*/ 191 h 262"/>
                <a:gd name="T24" fmla="*/ 108 w 253"/>
                <a:gd name="T25" fmla="*/ 196 h 262"/>
                <a:gd name="T26" fmla="*/ 117 w 253"/>
                <a:gd name="T27" fmla="*/ 199 h 262"/>
                <a:gd name="T28" fmla="*/ 126 w 253"/>
                <a:gd name="T29" fmla="*/ 200 h 262"/>
                <a:gd name="T30" fmla="*/ 136 w 253"/>
                <a:gd name="T31" fmla="*/ 199 h 262"/>
                <a:gd name="T32" fmla="*/ 144 w 253"/>
                <a:gd name="T33" fmla="*/ 196 h 262"/>
                <a:gd name="T34" fmla="*/ 154 w 253"/>
                <a:gd name="T35" fmla="*/ 191 h 262"/>
                <a:gd name="T36" fmla="*/ 163 w 253"/>
                <a:gd name="T37" fmla="*/ 181 h 262"/>
                <a:gd name="T38" fmla="*/ 169 w 253"/>
                <a:gd name="T39" fmla="*/ 169 h 262"/>
                <a:gd name="T40" fmla="*/ 174 w 253"/>
                <a:gd name="T41" fmla="*/ 152 h 262"/>
                <a:gd name="T42" fmla="*/ 176 w 253"/>
                <a:gd name="T43" fmla="*/ 131 h 262"/>
                <a:gd name="T44" fmla="*/ 174 w 253"/>
                <a:gd name="T45" fmla="*/ 110 h 262"/>
                <a:gd name="T46" fmla="*/ 169 w 253"/>
                <a:gd name="T47" fmla="*/ 93 h 262"/>
                <a:gd name="T48" fmla="*/ 163 w 253"/>
                <a:gd name="T49" fmla="*/ 80 h 262"/>
                <a:gd name="T50" fmla="*/ 154 w 253"/>
                <a:gd name="T51" fmla="*/ 71 h 262"/>
                <a:gd name="T52" fmla="*/ 144 w 253"/>
                <a:gd name="T53" fmla="*/ 66 h 262"/>
                <a:gd name="T54" fmla="*/ 136 w 253"/>
                <a:gd name="T55" fmla="*/ 64 h 262"/>
                <a:gd name="T56" fmla="*/ 126 w 253"/>
                <a:gd name="T57" fmla="*/ 63 h 262"/>
                <a:gd name="T58" fmla="*/ 126 w 253"/>
                <a:gd name="T59" fmla="*/ 0 h 262"/>
                <a:gd name="T60" fmla="*/ 157 w 253"/>
                <a:gd name="T61" fmla="*/ 3 h 262"/>
                <a:gd name="T62" fmla="*/ 184 w 253"/>
                <a:gd name="T63" fmla="*/ 13 h 262"/>
                <a:gd name="T64" fmla="*/ 208 w 253"/>
                <a:gd name="T65" fmla="*/ 28 h 262"/>
                <a:gd name="T66" fmla="*/ 227 w 253"/>
                <a:gd name="T67" fmla="*/ 48 h 262"/>
                <a:gd name="T68" fmla="*/ 241 w 253"/>
                <a:gd name="T69" fmla="*/ 71 h 262"/>
                <a:gd name="T70" fmla="*/ 250 w 253"/>
                <a:gd name="T71" fmla="*/ 100 h 262"/>
                <a:gd name="T72" fmla="*/ 253 w 253"/>
                <a:gd name="T73" fmla="*/ 131 h 262"/>
                <a:gd name="T74" fmla="*/ 250 w 253"/>
                <a:gd name="T75" fmla="*/ 162 h 262"/>
                <a:gd name="T76" fmla="*/ 241 w 253"/>
                <a:gd name="T77" fmla="*/ 191 h 262"/>
                <a:gd name="T78" fmla="*/ 227 w 253"/>
                <a:gd name="T79" fmla="*/ 215 h 262"/>
                <a:gd name="T80" fmla="*/ 208 w 253"/>
                <a:gd name="T81" fmla="*/ 235 h 262"/>
                <a:gd name="T82" fmla="*/ 184 w 253"/>
                <a:gd name="T83" fmla="*/ 250 h 262"/>
                <a:gd name="T84" fmla="*/ 157 w 253"/>
                <a:gd name="T85" fmla="*/ 260 h 262"/>
                <a:gd name="T86" fmla="*/ 126 w 253"/>
                <a:gd name="T87" fmla="*/ 262 h 262"/>
                <a:gd name="T88" fmla="*/ 96 w 253"/>
                <a:gd name="T89" fmla="*/ 260 h 262"/>
                <a:gd name="T90" fmla="*/ 69 w 253"/>
                <a:gd name="T91" fmla="*/ 250 h 262"/>
                <a:gd name="T92" fmla="*/ 45 w 253"/>
                <a:gd name="T93" fmla="*/ 235 h 262"/>
                <a:gd name="T94" fmla="*/ 25 w 253"/>
                <a:gd name="T95" fmla="*/ 215 h 262"/>
                <a:gd name="T96" fmla="*/ 11 w 253"/>
                <a:gd name="T97" fmla="*/ 191 h 262"/>
                <a:gd name="T98" fmla="*/ 3 w 253"/>
                <a:gd name="T99" fmla="*/ 162 h 262"/>
                <a:gd name="T100" fmla="*/ 0 w 253"/>
                <a:gd name="T101" fmla="*/ 131 h 262"/>
                <a:gd name="T102" fmla="*/ 3 w 253"/>
                <a:gd name="T103" fmla="*/ 100 h 262"/>
                <a:gd name="T104" fmla="*/ 11 w 253"/>
                <a:gd name="T105" fmla="*/ 71 h 262"/>
                <a:gd name="T106" fmla="*/ 25 w 253"/>
                <a:gd name="T107" fmla="*/ 48 h 262"/>
                <a:gd name="T108" fmla="*/ 45 w 253"/>
                <a:gd name="T109" fmla="*/ 28 h 262"/>
                <a:gd name="T110" fmla="*/ 69 w 253"/>
                <a:gd name="T111" fmla="*/ 13 h 262"/>
                <a:gd name="T112" fmla="*/ 96 w 253"/>
                <a:gd name="T113" fmla="*/ 3 h 262"/>
                <a:gd name="T114" fmla="*/ 126 w 253"/>
                <a:gd name="T11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262">
                  <a:moveTo>
                    <a:pt x="126" y="63"/>
                  </a:moveTo>
                  <a:lnTo>
                    <a:pt x="117" y="64"/>
                  </a:lnTo>
                  <a:lnTo>
                    <a:pt x="108" y="66"/>
                  </a:lnTo>
                  <a:lnTo>
                    <a:pt x="98" y="71"/>
                  </a:lnTo>
                  <a:lnTo>
                    <a:pt x="90" y="80"/>
                  </a:lnTo>
                  <a:lnTo>
                    <a:pt x="84" y="93"/>
                  </a:lnTo>
                  <a:lnTo>
                    <a:pt x="79" y="110"/>
                  </a:lnTo>
                  <a:lnTo>
                    <a:pt x="76" y="131"/>
                  </a:lnTo>
                  <a:lnTo>
                    <a:pt x="79" y="152"/>
                  </a:lnTo>
                  <a:lnTo>
                    <a:pt x="84" y="169"/>
                  </a:lnTo>
                  <a:lnTo>
                    <a:pt x="90" y="181"/>
                  </a:lnTo>
                  <a:lnTo>
                    <a:pt x="98" y="191"/>
                  </a:lnTo>
                  <a:lnTo>
                    <a:pt x="108" y="196"/>
                  </a:lnTo>
                  <a:lnTo>
                    <a:pt x="117" y="199"/>
                  </a:lnTo>
                  <a:lnTo>
                    <a:pt x="126" y="200"/>
                  </a:lnTo>
                  <a:lnTo>
                    <a:pt x="136" y="199"/>
                  </a:lnTo>
                  <a:lnTo>
                    <a:pt x="144" y="196"/>
                  </a:lnTo>
                  <a:lnTo>
                    <a:pt x="154" y="191"/>
                  </a:lnTo>
                  <a:lnTo>
                    <a:pt x="163" y="181"/>
                  </a:lnTo>
                  <a:lnTo>
                    <a:pt x="169" y="169"/>
                  </a:lnTo>
                  <a:lnTo>
                    <a:pt x="174" y="152"/>
                  </a:lnTo>
                  <a:lnTo>
                    <a:pt x="176" y="131"/>
                  </a:lnTo>
                  <a:lnTo>
                    <a:pt x="174" y="110"/>
                  </a:lnTo>
                  <a:lnTo>
                    <a:pt x="169" y="93"/>
                  </a:lnTo>
                  <a:lnTo>
                    <a:pt x="163" y="80"/>
                  </a:lnTo>
                  <a:lnTo>
                    <a:pt x="154" y="71"/>
                  </a:lnTo>
                  <a:lnTo>
                    <a:pt x="144" y="66"/>
                  </a:lnTo>
                  <a:lnTo>
                    <a:pt x="136" y="64"/>
                  </a:lnTo>
                  <a:lnTo>
                    <a:pt x="126" y="63"/>
                  </a:lnTo>
                  <a:close/>
                  <a:moveTo>
                    <a:pt x="126" y="0"/>
                  </a:moveTo>
                  <a:lnTo>
                    <a:pt x="157" y="3"/>
                  </a:lnTo>
                  <a:lnTo>
                    <a:pt x="184" y="13"/>
                  </a:lnTo>
                  <a:lnTo>
                    <a:pt x="208" y="28"/>
                  </a:lnTo>
                  <a:lnTo>
                    <a:pt x="227" y="48"/>
                  </a:lnTo>
                  <a:lnTo>
                    <a:pt x="241" y="71"/>
                  </a:lnTo>
                  <a:lnTo>
                    <a:pt x="250" y="100"/>
                  </a:lnTo>
                  <a:lnTo>
                    <a:pt x="253" y="131"/>
                  </a:lnTo>
                  <a:lnTo>
                    <a:pt x="250" y="162"/>
                  </a:lnTo>
                  <a:lnTo>
                    <a:pt x="241" y="191"/>
                  </a:lnTo>
                  <a:lnTo>
                    <a:pt x="227" y="215"/>
                  </a:lnTo>
                  <a:lnTo>
                    <a:pt x="208" y="235"/>
                  </a:lnTo>
                  <a:lnTo>
                    <a:pt x="184" y="250"/>
                  </a:lnTo>
                  <a:lnTo>
                    <a:pt x="157" y="260"/>
                  </a:lnTo>
                  <a:lnTo>
                    <a:pt x="126" y="262"/>
                  </a:lnTo>
                  <a:lnTo>
                    <a:pt x="96" y="260"/>
                  </a:lnTo>
                  <a:lnTo>
                    <a:pt x="69" y="250"/>
                  </a:lnTo>
                  <a:lnTo>
                    <a:pt x="45" y="235"/>
                  </a:lnTo>
                  <a:lnTo>
                    <a:pt x="25" y="215"/>
                  </a:lnTo>
                  <a:lnTo>
                    <a:pt x="11" y="191"/>
                  </a:lnTo>
                  <a:lnTo>
                    <a:pt x="3" y="162"/>
                  </a:lnTo>
                  <a:lnTo>
                    <a:pt x="0" y="131"/>
                  </a:lnTo>
                  <a:lnTo>
                    <a:pt x="3" y="100"/>
                  </a:lnTo>
                  <a:lnTo>
                    <a:pt x="11" y="71"/>
                  </a:lnTo>
                  <a:lnTo>
                    <a:pt x="25" y="48"/>
                  </a:lnTo>
                  <a:lnTo>
                    <a:pt x="45" y="28"/>
                  </a:lnTo>
                  <a:lnTo>
                    <a:pt x="69" y="13"/>
                  </a:lnTo>
                  <a:lnTo>
                    <a:pt x="96" y="3"/>
                  </a:lnTo>
                  <a:lnTo>
                    <a:pt x="1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p:cNvSpPr>
            <p:nvPr userDrawn="1"/>
          </p:nvSpPr>
          <p:spPr bwMode="auto">
            <a:xfrm>
              <a:off x="7612063" y="5645150"/>
              <a:ext cx="136525" cy="100013"/>
            </a:xfrm>
            <a:custGeom>
              <a:avLst/>
              <a:gdLst>
                <a:gd name="T0" fmla="*/ 0 w 342"/>
                <a:gd name="T1" fmla="*/ 0 h 249"/>
                <a:gd name="T2" fmla="*/ 76 w 342"/>
                <a:gd name="T3" fmla="*/ 0 h 249"/>
                <a:gd name="T4" fmla="*/ 107 w 342"/>
                <a:gd name="T5" fmla="*/ 154 h 249"/>
                <a:gd name="T6" fmla="*/ 107 w 342"/>
                <a:gd name="T7" fmla="*/ 154 h 249"/>
                <a:gd name="T8" fmla="*/ 137 w 342"/>
                <a:gd name="T9" fmla="*/ 0 h 249"/>
                <a:gd name="T10" fmla="*/ 205 w 342"/>
                <a:gd name="T11" fmla="*/ 0 h 249"/>
                <a:gd name="T12" fmla="*/ 235 w 342"/>
                <a:gd name="T13" fmla="*/ 155 h 249"/>
                <a:gd name="T14" fmla="*/ 235 w 342"/>
                <a:gd name="T15" fmla="*/ 155 h 249"/>
                <a:gd name="T16" fmla="*/ 266 w 342"/>
                <a:gd name="T17" fmla="*/ 0 h 249"/>
                <a:gd name="T18" fmla="*/ 342 w 342"/>
                <a:gd name="T19" fmla="*/ 0 h 249"/>
                <a:gd name="T20" fmla="*/ 273 w 342"/>
                <a:gd name="T21" fmla="*/ 249 h 249"/>
                <a:gd name="T22" fmla="*/ 198 w 342"/>
                <a:gd name="T23" fmla="*/ 249 h 249"/>
                <a:gd name="T24" fmla="*/ 171 w 342"/>
                <a:gd name="T25" fmla="*/ 97 h 249"/>
                <a:gd name="T26" fmla="*/ 171 w 342"/>
                <a:gd name="T27" fmla="*/ 97 h 249"/>
                <a:gd name="T28" fmla="*/ 144 w 342"/>
                <a:gd name="T29" fmla="*/ 249 h 249"/>
                <a:gd name="T30" fmla="*/ 69 w 342"/>
                <a:gd name="T31" fmla="*/ 249 h 249"/>
                <a:gd name="T32" fmla="*/ 0 w 342"/>
                <a:gd name="T3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249">
                  <a:moveTo>
                    <a:pt x="0" y="0"/>
                  </a:moveTo>
                  <a:lnTo>
                    <a:pt x="76" y="0"/>
                  </a:lnTo>
                  <a:lnTo>
                    <a:pt x="107" y="154"/>
                  </a:lnTo>
                  <a:lnTo>
                    <a:pt x="107" y="154"/>
                  </a:lnTo>
                  <a:lnTo>
                    <a:pt x="137" y="0"/>
                  </a:lnTo>
                  <a:lnTo>
                    <a:pt x="205" y="0"/>
                  </a:lnTo>
                  <a:lnTo>
                    <a:pt x="235" y="155"/>
                  </a:lnTo>
                  <a:lnTo>
                    <a:pt x="235" y="155"/>
                  </a:lnTo>
                  <a:lnTo>
                    <a:pt x="266" y="0"/>
                  </a:lnTo>
                  <a:lnTo>
                    <a:pt x="342" y="0"/>
                  </a:lnTo>
                  <a:lnTo>
                    <a:pt x="273" y="249"/>
                  </a:lnTo>
                  <a:lnTo>
                    <a:pt x="198" y="249"/>
                  </a:lnTo>
                  <a:lnTo>
                    <a:pt x="171" y="97"/>
                  </a:lnTo>
                  <a:lnTo>
                    <a:pt x="171" y="97"/>
                  </a:lnTo>
                  <a:lnTo>
                    <a:pt x="144" y="249"/>
                  </a:lnTo>
                  <a:lnTo>
                    <a:pt x="69"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userDrawn="1"/>
          </p:nvSpPr>
          <p:spPr bwMode="auto">
            <a:xfrm>
              <a:off x="7751763" y="5645150"/>
              <a:ext cx="84138" cy="100013"/>
            </a:xfrm>
            <a:custGeom>
              <a:avLst/>
              <a:gdLst>
                <a:gd name="T0" fmla="*/ 0 w 211"/>
                <a:gd name="T1" fmla="*/ 0 h 249"/>
                <a:gd name="T2" fmla="*/ 207 w 211"/>
                <a:gd name="T3" fmla="*/ 0 h 249"/>
                <a:gd name="T4" fmla="*/ 207 w 211"/>
                <a:gd name="T5" fmla="*/ 63 h 249"/>
                <a:gd name="T6" fmla="*/ 78 w 211"/>
                <a:gd name="T7" fmla="*/ 63 h 249"/>
                <a:gd name="T8" fmla="*/ 78 w 211"/>
                <a:gd name="T9" fmla="*/ 94 h 249"/>
                <a:gd name="T10" fmla="*/ 196 w 211"/>
                <a:gd name="T11" fmla="*/ 94 h 249"/>
                <a:gd name="T12" fmla="*/ 196 w 211"/>
                <a:gd name="T13" fmla="*/ 154 h 249"/>
                <a:gd name="T14" fmla="*/ 78 w 211"/>
                <a:gd name="T15" fmla="*/ 154 h 249"/>
                <a:gd name="T16" fmla="*/ 78 w 211"/>
                <a:gd name="T17" fmla="*/ 185 h 249"/>
                <a:gd name="T18" fmla="*/ 211 w 211"/>
                <a:gd name="T19" fmla="*/ 185 h 249"/>
                <a:gd name="T20" fmla="*/ 211 w 211"/>
                <a:gd name="T21" fmla="*/ 249 h 249"/>
                <a:gd name="T22" fmla="*/ 0 w 211"/>
                <a:gd name="T23" fmla="*/ 249 h 249"/>
                <a:gd name="T24" fmla="*/ 0 w 211"/>
                <a:gd name="T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249">
                  <a:moveTo>
                    <a:pt x="0" y="0"/>
                  </a:moveTo>
                  <a:lnTo>
                    <a:pt x="207" y="0"/>
                  </a:lnTo>
                  <a:lnTo>
                    <a:pt x="207" y="63"/>
                  </a:lnTo>
                  <a:lnTo>
                    <a:pt x="78" y="63"/>
                  </a:lnTo>
                  <a:lnTo>
                    <a:pt x="78" y="94"/>
                  </a:lnTo>
                  <a:lnTo>
                    <a:pt x="196" y="94"/>
                  </a:lnTo>
                  <a:lnTo>
                    <a:pt x="196" y="154"/>
                  </a:lnTo>
                  <a:lnTo>
                    <a:pt x="78" y="154"/>
                  </a:lnTo>
                  <a:lnTo>
                    <a:pt x="78" y="185"/>
                  </a:lnTo>
                  <a:lnTo>
                    <a:pt x="211" y="185"/>
                  </a:lnTo>
                  <a:lnTo>
                    <a:pt x="211"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7843838" y="5645150"/>
              <a:ext cx="93663" cy="100013"/>
            </a:xfrm>
            <a:custGeom>
              <a:avLst/>
              <a:gdLst>
                <a:gd name="T0" fmla="*/ 77 w 235"/>
                <a:gd name="T1" fmla="*/ 58 h 249"/>
                <a:gd name="T2" fmla="*/ 77 w 235"/>
                <a:gd name="T3" fmla="*/ 108 h 249"/>
                <a:gd name="T4" fmla="*/ 117 w 235"/>
                <a:gd name="T5" fmla="*/ 108 h 249"/>
                <a:gd name="T6" fmla="*/ 126 w 235"/>
                <a:gd name="T7" fmla="*/ 108 h 249"/>
                <a:gd name="T8" fmla="*/ 136 w 235"/>
                <a:gd name="T9" fmla="*/ 106 h 249"/>
                <a:gd name="T10" fmla="*/ 143 w 235"/>
                <a:gd name="T11" fmla="*/ 102 h 249"/>
                <a:gd name="T12" fmla="*/ 149 w 235"/>
                <a:gd name="T13" fmla="*/ 94 h 249"/>
                <a:gd name="T14" fmla="*/ 150 w 235"/>
                <a:gd name="T15" fmla="*/ 83 h 249"/>
                <a:gd name="T16" fmla="*/ 149 w 235"/>
                <a:gd name="T17" fmla="*/ 74 h 249"/>
                <a:gd name="T18" fmla="*/ 145 w 235"/>
                <a:gd name="T19" fmla="*/ 68 h 249"/>
                <a:gd name="T20" fmla="*/ 139 w 235"/>
                <a:gd name="T21" fmla="*/ 63 h 249"/>
                <a:gd name="T22" fmla="*/ 128 w 235"/>
                <a:gd name="T23" fmla="*/ 59 h 249"/>
                <a:gd name="T24" fmla="*/ 113 w 235"/>
                <a:gd name="T25" fmla="*/ 58 h 249"/>
                <a:gd name="T26" fmla="*/ 77 w 235"/>
                <a:gd name="T27" fmla="*/ 58 h 249"/>
                <a:gd name="T28" fmla="*/ 0 w 235"/>
                <a:gd name="T29" fmla="*/ 0 h 249"/>
                <a:gd name="T30" fmla="*/ 147 w 235"/>
                <a:gd name="T31" fmla="*/ 0 h 249"/>
                <a:gd name="T32" fmla="*/ 164 w 235"/>
                <a:gd name="T33" fmla="*/ 1 h 249"/>
                <a:gd name="T34" fmla="*/ 182 w 235"/>
                <a:gd name="T35" fmla="*/ 5 h 249"/>
                <a:gd name="T36" fmla="*/ 196 w 235"/>
                <a:gd name="T37" fmla="*/ 12 h 249"/>
                <a:gd name="T38" fmla="*/ 209 w 235"/>
                <a:gd name="T39" fmla="*/ 22 h 249"/>
                <a:gd name="T40" fmla="*/ 219 w 235"/>
                <a:gd name="T41" fmla="*/ 36 h 249"/>
                <a:gd name="T42" fmla="*/ 225 w 235"/>
                <a:gd name="T43" fmla="*/ 52 h 249"/>
                <a:gd name="T44" fmla="*/ 228 w 235"/>
                <a:gd name="T45" fmla="*/ 71 h 249"/>
                <a:gd name="T46" fmla="*/ 226 w 235"/>
                <a:gd name="T47" fmla="*/ 86 h 249"/>
                <a:gd name="T48" fmla="*/ 223 w 235"/>
                <a:gd name="T49" fmla="*/ 101 h 249"/>
                <a:gd name="T50" fmla="*/ 215 w 235"/>
                <a:gd name="T51" fmla="*/ 114 h 249"/>
                <a:gd name="T52" fmla="*/ 204 w 235"/>
                <a:gd name="T53" fmla="*/ 125 h 249"/>
                <a:gd name="T54" fmla="*/ 190 w 235"/>
                <a:gd name="T55" fmla="*/ 133 h 249"/>
                <a:gd name="T56" fmla="*/ 205 w 235"/>
                <a:gd name="T57" fmla="*/ 142 h 249"/>
                <a:gd name="T58" fmla="*/ 215 w 235"/>
                <a:gd name="T59" fmla="*/ 155 h 249"/>
                <a:gd name="T60" fmla="*/ 223 w 235"/>
                <a:gd name="T61" fmla="*/ 174 h 249"/>
                <a:gd name="T62" fmla="*/ 228 w 235"/>
                <a:gd name="T63" fmla="*/ 195 h 249"/>
                <a:gd name="T64" fmla="*/ 228 w 235"/>
                <a:gd name="T65" fmla="*/ 208 h 249"/>
                <a:gd name="T66" fmla="*/ 229 w 235"/>
                <a:gd name="T67" fmla="*/ 223 h 249"/>
                <a:gd name="T68" fmla="*/ 231 w 235"/>
                <a:gd name="T69" fmla="*/ 238 h 249"/>
                <a:gd name="T70" fmla="*/ 235 w 235"/>
                <a:gd name="T71" fmla="*/ 249 h 249"/>
                <a:gd name="T72" fmla="*/ 158 w 235"/>
                <a:gd name="T73" fmla="*/ 249 h 249"/>
                <a:gd name="T74" fmla="*/ 154 w 235"/>
                <a:gd name="T75" fmla="*/ 230 h 249"/>
                <a:gd name="T76" fmla="*/ 152 w 235"/>
                <a:gd name="T77" fmla="*/ 210 h 249"/>
                <a:gd name="T78" fmla="*/ 150 w 235"/>
                <a:gd name="T79" fmla="*/ 199 h 249"/>
                <a:gd name="T80" fmla="*/ 149 w 235"/>
                <a:gd name="T81" fmla="*/ 188 h 249"/>
                <a:gd name="T82" fmla="*/ 145 w 235"/>
                <a:gd name="T83" fmla="*/ 178 h 249"/>
                <a:gd name="T84" fmla="*/ 139 w 235"/>
                <a:gd name="T85" fmla="*/ 169 h 249"/>
                <a:gd name="T86" fmla="*/ 131 w 235"/>
                <a:gd name="T87" fmla="*/ 164 h 249"/>
                <a:gd name="T88" fmla="*/ 118 w 235"/>
                <a:gd name="T89" fmla="*/ 162 h 249"/>
                <a:gd name="T90" fmla="*/ 77 w 235"/>
                <a:gd name="T91" fmla="*/ 162 h 249"/>
                <a:gd name="T92" fmla="*/ 77 w 235"/>
                <a:gd name="T93" fmla="*/ 249 h 249"/>
                <a:gd name="T94" fmla="*/ 0 w 235"/>
                <a:gd name="T95" fmla="*/ 249 h 249"/>
                <a:gd name="T96" fmla="*/ 0 w 235"/>
                <a:gd name="T9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5" h="249">
                  <a:moveTo>
                    <a:pt x="77" y="58"/>
                  </a:moveTo>
                  <a:lnTo>
                    <a:pt x="77" y="108"/>
                  </a:lnTo>
                  <a:lnTo>
                    <a:pt x="117" y="108"/>
                  </a:lnTo>
                  <a:lnTo>
                    <a:pt x="126" y="108"/>
                  </a:lnTo>
                  <a:lnTo>
                    <a:pt x="136" y="106"/>
                  </a:lnTo>
                  <a:lnTo>
                    <a:pt x="143" y="102"/>
                  </a:lnTo>
                  <a:lnTo>
                    <a:pt x="149" y="94"/>
                  </a:lnTo>
                  <a:lnTo>
                    <a:pt x="150" y="83"/>
                  </a:lnTo>
                  <a:lnTo>
                    <a:pt x="149" y="74"/>
                  </a:lnTo>
                  <a:lnTo>
                    <a:pt x="145" y="68"/>
                  </a:lnTo>
                  <a:lnTo>
                    <a:pt x="139" y="63"/>
                  </a:lnTo>
                  <a:lnTo>
                    <a:pt x="128" y="59"/>
                  </a:lnTo>
                  <a:lnTo>
                    <a:pt x="113" y="58"/>
                  </a:lnTo>
                  <a:lnTo>
                    <a:pt x="77" y="58"/>
                  </a:lnTo>
                  <a:close/>
                  <a:moveTo>
                    <a:pt x="0" y="0"/>
                  </a:moveTo>
                  <a:lnTo>
                    <a:pt x="147" y="0"/>
                  </a:lnTo>
                  <a:lnTo>
                    <a:pt x="164" y="1"/>
                  </a:lnTo>
                  <a:lnTo>
                    <a:pt x="182" y="5"/>
                  </a:lnTo>
                  <a:lnTo>
                    <a:pt x="196" y="12"/>
                  </a:lnTo>
                  <a:lnTo>
                    <a:pt x="209" y="22"/>
                  </a:lnTo>
                  <a:lnTo>
                    <a:pt x="219" y="36"/>
                  </a:lnTo>
                  <a:lnTo>
                    <a:pt x="225" y="52"/>
                  </a:lnTo>
                  <a:lnTo>
                    <a:pt x="228" y="71"/>
                  </a:lnTo>
                  <a:lnTo>
                    <a:pt x="226" y="86"/>
                  </a:lnTo>
                  <a:lnTo>
                    <a:pt x="223" y="101"/>
                  </a:lnTo>
                  <a:lnTo>
                    <a:pt x="215" y="114"/>
                  </a:lnTo>
                  <a:lnTo>
                    <a:pt x="204" y="125"/>
                  </a:lnTo>
                  <a:lnTo>
                    <a:pt x="190" y="133"/>
                  </a:lnTo>
                  <a:lnTo>
                    <a:pt x="205" y="142"/>
                  </a:lnTo>
                  <a:lnTo>
                    <a:pt x="215" y="155"/>
                  </a:lnTo>
                  <a:lnTo>
                    <a:pt x="223" y="174"/>
                  </a:lnTo>
                  <a:lnTo>
                    <a:pt x="228" y="195"/>
                  </a:lnTo>
                  <a:lnTo>
                    <a:pt x="228" y="208"/>
                  </a:lnTo>
                  <a:lnTo>
                    <a:pt x="229" y="223"/>
                  </a:lnTo>
                  <a:lnTo>
                    <a:pt x="231" y="238"/>
                  </a:lnTo>
                  <a:lnTo>
                    <a:pt x="235" y="249"/>
                  </a:lnTo>
                  <a:lnTo>
                    <a:pt x="158" y="249"/>
                  </a:lnTo>
                  <a:lnTo>
                    <a:pt x="154" y="230"/>
                  </a:lnTo>
                  <a:lnTo>
                    <a:pt x="152" y="210"/>
                  </a:lnTo>
                  <a:lnTo>
                    <a:pt x="150" y="199"/>
                  </a:lnTo>
                  <a:lnTo>
                    <a:pt x="149" y="188"/>
                  </a:lnTo>
                  <a:lnTo>
                    <a:pt x="145" y="178"/>
                  </a:lnTo>
                  <a:lnTo>
                    <a:pt x="139" y="169"/>
                  </a:lnTo>
                  <a:lnTo>
                    <a:pt x="131" y="164"/>
                  </a:lnTo>
                  <a:lnTo>
                    <a:pt x="118" y="162"/>
                  </a:lnTo>
                  <a:lnTo>
                    <a:pt x="77" y="162"/>
                  </a:lnTo>
                  <a:lnTo>
                    <a:pt x="77"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userDrawn="1"/>
          </p:nvSpPr>
          <p:spPr bwMode="auto">
            <a:xfrm>
              <a:off x="7969250" y="5645150"/>
              <a:ext cx="87313" cy="100013"/>
            </a:xfrm>
            <a:custGeom>
              <a:avLst/>
              <a:gdLst>
                <a:gd name="T0" fmla="*/ 0 w 216"/>
                <a:gd name="T1" fmla="*/ 0 h 249"/>
                <a:gd name="T2" fmla="*/ 216 w 216"/>
                <a:gd name="T3" fmla="*/ 0 h 249"/>
                <a:gd name="T4" fmla="*/ 216 w 216"/>
                <a:gd name="T5" fmla="*/ 63 h 249"/>
                <a:gd name="T6" fmla="*/ 147 w 216"/>
                <a:gd name="T7" fmla="*/ 63 h 249"/>
                <a:gd name="T8" fmla="*/ 147 w 216"/>
                <a:gd name="T9" fmla="*/ 249 h 249"/>
                <a:gd name="T10" fmla="*/ 70 w 216"/>
                <a:gd name="T11" fmla="*/ 249 h 249"/>
                <a:gd name="T12" fmla="*/ 70 w 216"/>
                <a:gd name="T13" fmla="*/ 63 h 249"/>
                <a:gd name="T14" fmla="*/ 0 w 216"/>
                <a:gd name="T15" fmla="*/ 63 h 249"/>
                <a:gd name="T16" fmla="*/ 0 w 216"/>
                <a:gd name="T1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49">
                  <a:moveTo>
                    <a:pt x="0" y="0"/>
                  </a:moveTo>
                  <a:lnTo>
                    <a:pt x="216" y="0"/>
                  </a:lnTo>
                  <a:lnTo>
                    <a:pt x="216" y="63"/>
                  </a:lnTo>
                  <a:lnTo>
                    <a:pt x="147" y="63"/>
                  </a:lnTo>
                  <a:lnTo>
                    <a:pt x="147" y="249"/>
                  </a:lnTo>
                  <a:lnTo>
                    <a:pt x="70" y="249"/>
                  </a:lnTo>
                  <a:lnTo>
                    <a:pt x="70" y="63"/>
                  </a:lnTo>
                  <a:lnTo>
                    <a:pt x="0" y="6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noEditPoints="1"/>
            </p:cNvSpPr>
            <p:nvPr userDrawn="1"/>
          </p:nvSpPr>
          <p:spPr bwMode="auto">
            <a:xfrm>
              <a:off x="8054975" y="5643563"/>
              <a:ext cx="100013" cy="103188"/>
            </a:xfrm>
            <a:custGeom>
              <a:avLst/>
              <a:gdLst>
                <a:gd name="T0" fmla="*/ 126 w 253"/>
                <a:gd name="T1" fmla="*/ 63 h 262"/>
                <a:gd name="T2" fmla="*/ 118 w 253"/>
                <a:gd name="T3" fmla="*/ 64 h 262"/>
                <a:gd name="T4" fmla="*/ 108 w 253"/>
                <a:gd name="T5" fmla="*/ 66 h 262"/>
                <a:gd name="T6" fmla="*/ 99 w 253"/>
                <a:gd name="T7" fmla="*/ 71 h 262"/>
                <a:gd name="T8" fmla="*/ 90 w 253"/>
                <a:gd name="T9" fmla="*/ 80 h 262"/>
                <a:gd name="T10" fmla="*/ 83 w 253"/>
                <a:gd name="T11" fmla="*/ 93 h 262"/>
                <a:gd name="T12" fmla="*/ 79 w 253"/>
                <a:gd name="T13" fmla="*/ 110 h 262"/>
                <a:gd name="T14" fmla="*/ 77 w 253"/>
                <a:gd name="T15" fmla="*/ 131 h 262"/>
                <a:gd name="T16" fmla="*/ 79 w 253"/>
                <a:gd name="T17" fmla="*/ 152 h 262"/>
                <a:gd name="T18" fmla="*/ 83 w 253"/>
                <a:gd name="T19" fmla="*/ 169 h 262"/>
                <a:gd name="T20" fmla="*/ 90 w 253"/>
                <a:gd name="T21" fmla="*/ 181 h 262"/>
                <a:gd name="T22" fmla="*/ 99 w 253"/>
                <a:gd name="T23" fmla="*/ 191 h 262"/>
                <a:gd name="T24" fmla="*/ 108 w 253"/>
                <a:gd name="T25" fmla="*/ 196 h 262"/>
                <a:gd name="T26" fmla="*/ 118 w 253"/>
                <a:gd name="T27" fmla="*/ 199 h 262"/>
                <a:gd name="T28" fmla="*/ 126 w 253"/>
                <a:gd name="T29" fmla="*/ 200 h 262"/>
                <a:gd name="T30" fmla="*/ 135 w 253"/>
                <a:gd name="T31" fmla="*/ 199 h 262"/>
                <a:gd name="T32" fmla="*/ 145 w 253"/>
                <a:gd name="T33" fmla="*/ 196 h 262"/>
                <a:gd name="T34" fmla="*/ 154 w 253"/>
                <a:gd name="T35" fmla="*/ 191 h 262"/>
                <a:gd name="T36" fmla="*/ 162 w 253"/>
                <a:gd name="T37" fmla="*/ 181 h 262"/>
                <a:gd name="T38" fmla="*/ 170 w 253"/>
                <a:gd name="T39" fmla="*/ 169 h 262"/>
                <a:gd name="T40" fmla="*/ 175 w 253"/>
                <a:gd name="T41" fmla="*/ 152 h 262"/>
                <a:gd name="T42" fmla="*/ 176 w 253"/>
                <a:gd name="T43" fmla="*/ 131 h 262"/>
                <a:gd name="T44" fmla="*/ 175 w 253"/>
                <a:gd name="T45" fmla="*/ 110 h 262"/>
                <a:gd name="T46" fmla="*/ 170 w 253"/>
                <a:gd name="T47" fmla="*/ 93 h 262"/>
                <a:gd name="T48" fmla="*/ 162 w 253"/>
                <a:gd name="T49" fmla="*/ 80 h 262"/>
                <a:gd name="T50" fmla="*/ 154 w 253"/>
                <a:gd name="T51" fmla="*/ 71 h 262"/>
                <a:gd name="T52" fmla="*/ 145 w 253"/>
                <a:gd name="T53" fmla="*/ 66 h 262"/>
                <a:gd name="T54" fmla="*/ 135 w 253"/>
                <a:gd name="T55" fmla="*/ 64 h 262"/>
                <a:gd name="T56" fmla="*/ 126 w 253"/>
                <a:gd name="T57" fmla="*/ 63 h 262"/>
                <a:gd name="T58" fmla="*/ 126 w 253"/>
                <a:gd name="T59" fmla="*/ 0 h 262"/>
                <a:gd name="T60" fmla="*/ 157 w 253"/>
                <a:gd name="T61" fmla="*/ 3 h 262"/>
                <a:gd name="T62" fmla="*/ 185 w 253"/>
                <a:gd name="T63" fmla="*/ 13 h 262"/>
                <a:gd name="T64" fmla="*/ 208 w 253"/>
                <a:gd name="T65" fmla="*/ 28 h 262"/>
                <a:gd name="T66" fmla="*/ 227 w 253"/>
                <a:gd name="T67" fmla="*/ 48 h 262"/>
                <a:gd name="T68" fmla="*/ 241 w 253"/>
                <a:gd name="T69" fmla="*/ 71 h 262"/>
                <a:gd name="T70" fmla="*/ 251 w 253"/>
                <a:gd name="T71" fmla="*/ 100 h 262"/>
                <a:gd name="T72" fmla="*/ 253 w 253"/>
                <a:gd name="T73" fmla="*/ 131 h 262"/>
                <a:gd name="T74" fmla="*/ 251 w 253"/>
                <a:gd name="T75" fmla="*/ 162 h 262"/>
                <a:gd name="T76" fmla="*/ 241 w 253"/>
                <a:gd name="T77" fmla="*/ 191 h 262"/>
                <a:gd name="T78" fmla="*/ 227 w 253"/>
                <a:gd name="T79" fmla="*/ 215 h 262"/>
                <a:gd name="T80" fmla="*/ 208 w 253"/>
                <a:gd name="T81" fmla="*/ 235 h 262"/>
                <a:gd name="T82" fmla="*/ 185 w 253"/>
                <a:gd name="T83" fmla="*/ 250 h 262"/>
                <a:gd name="T84" fmla="*/ 157 w 253"/>
                <a:gd name="T85" fmla="*/ 260 h 262"/>
                <a:gd name="T86" fmla="*/ 126 w 253"/>
                <a:gd name="T87" fmla="*/ 262 h 262"/>
                <a:gd name="T88" fmla="*/ 95 w 253"/>
                <a:gd name="T89" fmla="*/ 260 h 262"/>
                <a:gd name="T90" fmla="*/ 68 w 253"/>
                <a:gd name="T91" fmla="*/ 250 h 262"/>
                <a:gd name="T92" fmla="*/ 44 w 253"/>
                <a:gd name="T93" fmla="*/ 235 h 262"/>
                <a:gd name="T94" fmla="*/ 26 w 253"/>
                <a:gd name="T95" fmla="*/ 215 h 262"/>
                <a:gd name="T96" fmla="*/ 12 w 253"/>
                <a:gd name="T97" fmla="*/ 191 h 262"/>
                <a:gd name="T98" fmla="*/ 3 w 253"/>
                <a:gd name="T99" fmla="*/ 162 h 262"/>
                <a:gd name="T100" fmla="*/ 0 w 253"/>
                <a:gd name="T101" fmla="*/ 131 h 262"/>
                <a:gd name="T102" fmla="*/ 3 w 253"/>
                <a:gd name="T103" fmla="*/ 100 h 262"/>
                <a:gd name="T104" fmla="*/ 12 w 253"/>
                <a:gd name="T105" fmla="*/ 71 h 262"/>
                <a:gd name="T106" fmla="*/ 26 w 253"/>
                <a:gd name="T107" fmla="*/ 48 h 262"/>
                <a:gd name="T108" fmla="*/ 44 w 253"/>
                <a:gd name="T109" fmla="*/ 28 h 262"/>
                <a:gd name="T110" fmla="*/ 68 w 253"/>
                <a:gd name="T111" fmla="*/ 13 h 262"/>
                <a:gd name="T112" fmla="*/ 95 w 253"/>
                <a:gd name="T113" fmla="*/ 3 h 262"/>
                <a:gd name="T114" fmla="*/ 126 w 253"/>
                <a:gd name="T11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262">
                  <a:moveTo>
                    <a:pt x="126" y="63"/>
                  </a:moveTo>
                  <a:lnTo>
                    <a:pt x="118" y="64"/>
                  </a:lnTo>
                  <a:lnTo>
                    <a:pt x="108" y="66"/>
                  </a:lnTo>
                  <a:lnTo>
                    <a:pt x="99" y="71"/>
                  </a:lnTo>
                  <a:lnTo>
                    <a:pt x="90" y="80"/>
                  </a:lnTo>
                  <a:lnTo>
                    <a:pt x="83" y="93"/>
                  </a:lnTo>
                  <a:lnTo>
                    <a:pt x="79" y="110"/>
                  </a:lnTo>
                  <a:lnTo>
                    <a:pt x="77" y="131"/>
                  </a:lnTo>
                  <a:lnTo>
                    <a:pt x="79" y="152"/>
                  </a:lnTo>
                  <a:lnTo>
                    <a:pt x="83" y="169"/>
                  </a:lnTo>
                  <a:lnTo>
                    <a:pt x="90" y="181"/>
                  </a:lnTo>
                  <a:lnTo>
                    <a:pt x="99" y="191"/>
                  </a:lnTo>
                  <a:lnTo>
                    <a:pt x="108" y="196"/>
                  </a:lnTo>
                  <a:lnTo>
                    <a:pt x="118" y="199"/>
                  </a:lnTo>
                  <a:lnTo>
                    <a:pt x="126" y="200"/>
                  </a:lnTo>
                  <a:lnTo>
                    <a:pt x="135" y="199"/>
                  </a:lnTo>
                  <a:lnTo>
                    <a:pt x="145" y="196"/>
                  </a:lnTo>
                  <a:lnTo>
                    <a:pt x="154" y="191"/>
                  </a:lnTo>
                  <a:lnTo>
                    <a:pt x="162" y="181"/>
                  </a:lnTo>
                  <a:lnTo>
                    <a:pt x="170" y="169"/>
                  </a:lnTo>
                  <a:lnTo>
                    <a:pt x="175" y="152"/>
                  </a:lnTo>
                  <a:lnTo>
                    <a:pt x="176" y="131"/>
                  </a:lnTo>
                  <a:lnTo>
                    <a:pt x="175" y="110"/>
                  </a:lnTo>
                  <a:lnTo>
                    <a:pt x="170" y="93"/>
                  </a:lnTo>
                  <a:lnTo>
                    <a:pt x="162" y="80"/>
                  </a:lnTo>
                  <a:lnTo>
                    <a:pt x="154" y="71"/>
                  </a:lnTo>
                  <a:lnTo>
                    <a:pt x="145" y="66"/>
                  </a:lnTo>
                  <a:lnTo>
                    <a:pt x="135" y="64"/>
                  </a:lnTo>
                  <a:lnTo>
                    <a:pt x="126" y="63"/>
                  </a:lnTo>
                  <a:close/>
                  <a:moveTo>
                    <a:pt x="126" y="0"/>
                  </a:moveTo>
                  <a:lnTo>
                    <a:pt x="157" y="3"/>
                  </a:lnTo>
                  <a:lnTo>
                    <a:pt x="185" y="13"/>
                  </a:lnTo>
                  <a:lnTo>
                    <a:pt x="208" y="28"/>
                  </a:lnTo>
                  <a:lnTo>
                    <a:pt x="227" y="48"/>
                  </a:lnTo>
                  <a:lnTo>
                    <a:pt x="241" y="71"/>
                  </a:lnTo>
                  <a:lnTo>
                    <a:pt x="251" y="100"/>
                  </a:lnTo>
                  <a:lnTo>
                    <a:pt x="253" y="131"/>
                  </a:lnTo>
                  <a:lnTo>
                    <a:pt x="251" y="162"/>
                  </a:lnTo>
                  <a:lnTo>
                    <a:pt x="241" y="191"/>
                  </a:lnTo>
                  <a:lnTo>
                    <a:pt x="227" y="215"/>
                  </a:lnTo>
                  <a:lnTo>
                    <a:pt x="208" y="235"/>
                  </a:lnTo>
                  <a:lnTo>
                    <a:pt x="185" y="250"/>
                  </a:lnTo>
                  <a:lnTo>
                    <a:pt x="157" y="260"/>
                  </a:lnTo>
                  <a:lnTo>
                    <a:pt x="126" y="262"/>
                  </a:lnTo>
                  <a:lnTo>
                    <a:pt x="95" y="260"/>
                  </a:lnTo>
                  <a:lnTo>
                    <a:pt x="68" y="250"/>
                  </a:lnTo>
                  <a:lnTo>
                    <a:pt x="44" y="235"/>
                  </a:lnTo>
                  <a:lnTo>
                    <a:pt x="26" y="215"/>
                  </a:lnTo>
                  <a:lnTo>
                    <a:pt x="12" y="191"/>
                  </a:lnTo>
                  <a:lnTo>
                    <a:pt x="3" y="162"/>
                  </a:lnTo>
                  <a:lnTo>
                    <a:pt x="0" y="131"/>
                  </a:lnTo>
                  <a:lnTo>
                    <a:pt x="3" y="100"/>
                  </a:lnTo>
                  <a:lnTo>
                    <a:pt x="12" y="71"/>
                  </a:lnTo>
                  <a:lnTo>
                    <a:pt x="26" y="48"/>
                  </a:lnTo>
                  <a:lnTo>
                    <a:pt x="44" y="28"/>
                  </a:lnTo>
                  <a:lnTo>
                    <a:pt x="68" y="13"/>
                  </a:lnTo>
                  <a:lnTo>
                    <a:pt x="95" y="3"/>
                  </a:lnTo>
                  <a:lnTo>
                    <a:pt x="1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userDrawn="1"/>
          </p:nvSpPr>
          <p:spPr bwMode="auto">
            <a:xfrm>
              <a:off x="8196263" y="5645150"/>
              <a:ext cx="101600" cy="100013"/>
            </a:xfrm>
            <a:custGeom>
              <a:avLst/>
              <a:gdLst>
                <a:gd name="T0" fmla="*/ 0 w 256"/>
                <a:gd name="T1" fmla="*/ 0 h 249"/>
                <a:gd name="T2" fmla="*/ 77 w 256"/>
                <a:gd name="T3" fmla="*/ 0 h 249"/>
                <a:gd name="T4" fmla="*/ 77 w 256"/>
                <a:gd name="T5" fmla="*/ 86 h 249"/>
                <a:gd name="T6" fmla="*/ 79 w 256"/>
                <a:gd name="T7" fmla="*/ 86 h 249"/>
                <a:gd name="T8" fmla="*/ 147 w 256"/>
                <a:gd name="T9" fmla="*/ 0 h 249"/>
                <a:gd name="T10" fmla="*/ 241 w 256"/>
                <a:gd name="T11" fmla="*/ 0 h 249"/>
                <a:gd name="T12" fmla="*/ 151 w 256"/>
                <a:gd name="T13" fmla="*/ 97 h 249"/>
                <a:gd name="T14" fmla="*/ 256 w 256"/>
                <a:gd name="T15" fmla="*/ 249 h 249"/>
                <a:gd name="T16" fmla="*/ 161 w 256"/>
                <a:gd name="T17" fmla="*/ 249 h 249"/>
                <a:gd name="T18" fmla="*/ 100 w 256"/>
                <a:gd name="T19" fmla="*/ 152 h 249"/>
                <a:gd name="T20" fmla="*/ 77 w 256"/>
                <a:gd name="T21" fmla="*/ 175 h 249"/>
                <a:gd name="T22" fmla="*/ 77 w 256"/>
                <a:gd name="T23" fmla="*/ 249 h 249"/>
                <a:gd name="T24" fmla="*/ 0 w 256"/>
                <a:gd name="T25" fmla="*/ 249 h 249"/>
                <a:gd name="T26" fmla="*/ 0 w 256"/>
                <a:gd name="T2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49">
                  <a:moveTo>
                    <a:pt x="0" y="0"/>
                  </a:moveTo>
                  <a:lnTo>
                    <a:pt x="77" y="0"/>
                  </a:lnTo>
                  <a:lnTo>
                    <a:pt x="77" y="86"/>
                  </a:lnTo>
                  <a:lnTo>
                    <a:pt x="79" y="86"/>
                  </a:lnTo>
                  <a:lnTo>
                    <a:pt x="147" y="0"/>
                  </a:lnTo>
                  <a:lnTo>
                    <a:pt x="241" y="0"/>
                  </a:lnTo>
                  <a:lnTo>
                    <a:pt x="151" y="97"/>
                  </a:lnTo>
                  <a:lnTo>
                    <a:pt x="256" y="249"/>
                  </a:lnTo>
                  <a:lnTo>
                    <a:pt x="161" y="249"/>
                  </a:lnTo>
                  <a:lnTo>
                    <a:pt x="100" y="152"/>
                  </a:lnTo>
                  <a:lnTo>
                    <a:pt x="77" y="175"/>
                  </a:lnTo>
                  <a:lnTo>
                    <a:pt x="77"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userDrawn="1"/>
          </p:nvSpPr>
          <p:spPr bwMode="auto">
            <a:xfrm>
              <a:off x="8299450" y="5645150"/>
              <a:ext cx="90488" cy="100013"/>
            </a:xfrm>
            <a:custGeom>
              <a:avLst/>
              <a:gdLst>
                <a:gd name="T0" fmla="*/ 0 w 225"/>
                <a:gd name="T1" fmla="*/ 0 h 249"/>
                <a:gd name="T2" fmla="*/ 79 w 225"/>
                <a:gd name="T3" fmla="*/ 0 h 249"/>
                <a:gd name="T4" fmla="*/ 152 w 225"/>
                <a:gd name="T5" fmla="*/ 133 h 249"/>
                <a:gd name="T6" fmla="*/ 153 w 225"/>
                <a:gd name="T7" fmla="*/ 133 h 249"/>
                <a:gd name="T8" fmla="*/ 153 w 225"/>
                <a:gd name="T9" fmla="*/ 0 h 249"/>
                <a:gd name="T10" fmla="*/ 225 w 225"/>
                <a:gd name="T11" fmla="*/ 0 h 249"/>
                <a:gd name="T12" fmla="*/ 225 w 225"/>
                <a:gd name="T13" fmla="*/ 249 h 249"/>
                <a:gd name="T14" fmla="*/ 150 w 225"/>
                <a:gd name="T15" fmla="*/ 249 h 249"/>
                <a:gd name="T16" fmla="*/ 73 w 225"/>
                <a:gd name="T17" fmla="*/ 113 h 249"/>
                <a:gd name="T18" fmla="*/ 73 w 225"/>
                <a:gd name="T19" fmla="*/ 113 h 249"/>
                <a:gd name="T20" fmla="*/ 73 w 225"/>
                <a:gd name="T21" fmla="*/ 249 h 249"/>
                <a:gd name="T22" fmla="*/ 0 w 225"/>
                <a:gd name="T23" fmla="*/ 249 h 249"/>
                <a:gd name="T24" fmla="*/ 0 w 225"/>
                <a:gd name="T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249">
                  <a:moveTo>
                    <a:pt x="0" y="0"/>
                  </a:moveTo>
                  <a:lnTo>
                    <a:pt x="79" y="0"/>
                  </a:lnTo>
                  <a:lnTo>
                    <a:pt x="152" y="133"/>
                  </a:lnTo>
                  <a:lnTo>
                    <a:pt x="153" y="133"/>
                  </a:lnTo>
                  <a:lnTo>
                    <a:pt x="153" y="0"/>
                  </a:lnTo>
                  <a:lnTo>
                    <a:pt x="225" y="0"/>
                  </a:lnTo>
                  <a:lnTo>
                    <a:pt x="225" y="249"/>
                  </a:lnTo>
                  <a:lnTo>
                    <a:pt x="150" y="249"/>
                  </a:lnTo>
                  <a:lnTo>
                    <a:pt x="73" y="113"/>
                  </a:lnTo>
                  <a:lnTo>
                    <a:pt x="73" y="113"/>
                  </a:lnTo>
                  <a:lnTo>
                    <a:pt x="73" y="249"/>
                  </a:lnTo>
                  <a:lnTo>
                    <a:pt x="0"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p:cNvSpPr>
              <a:spLocks noEditPoints="1"/>
            </p:cNvSpPr>
            <p:nvPr userDrawn="1"/>
          </p:nvSpPr>
          <p:spPr bwMode="auto">
            <a:xfrm>
              <a:off x="8394700" y="5643563"/>
              <a:ext cx="100013" cy="103188"/>
            </a:xfrm>
            <a:custGeom>
              <a:avLst/>
              <a:gdLst>
                <a:gd name="T0" fmla="*/ 127 w 254"/>
                <a:gd name="T1" fmla="*/ 63 h 262"/>
                <a:gd name="T2" fmla="*/ 119 w 254"/>
                <a:gd name="T3" fmla="*/ 64 h 262"/>
                <a:gd name="T4" fmla="*/ 109 w 254"/>
                <a:gd name="T5" fmla="*/ 66 h 262"/>
                <a:gd name="T6" fmla="*/ 99 w 254"/>
                <a:gd name="T7" fmla="*/ 71 h 262"/>
                <a:gd name="T8" fmla="*/ 91 w 254"/>
                <a:gd name="T9" fmla="*/ 80 h 262"/>
                <a:gd name="T10" fmla="*/ 84 w 254"/>
                <a:gd name="T11" fmla="*/ 93 h 262"/>
                <a:gd name="T12" fmla="*/ 79 w 254"/>
                <a:gd name="T13" fmla="*/ 110 h 262"/>
                <a:gd name="T14" fmla="*/ 78 w 254"/>
                <a:gd name="T15" fmla="*/ 131 h 262"/>
                <a:gd name="T16" fmla="*/ 79 w 254"/>
                <a:gd name="T17" fmla="*/ 152 h 262"/>
                <a:gd name="T18" fmla="*/ 84 w 254"/>
                <a:gd name="T19" fmla="*/ 169 h 262"/>
                <a:gd name="T20" fmla="*/ 91 w 254"/>
                <a:gd name="T21" fmla="*/ 181 h 262"/>
                <a:gd name="T22" fmla="*/ 99 w 254"/>
                <a:gd name="T23" fmla="*/ 191 h 262"/>
                <a:gd name="T24" fmla="*/ 109 w 254"/>
                <a:gd name="T25" fmla="*/ 196 h 262"/>
                <a:gd name="T26" fmla="*/ 119 w 254"/>
                <a:gd name="T27" fmla="*/ 199 h 262"/>
                <a:gd name="T28" fmla="*/ 127 w 254"/>
                <a:gd name="T29" fmla="*/ 200 h 262"/>
                <a:gd name="T30" fmla="*/ 136 w 254"/>
                <a:gd name="T31" fmla="*/ 199 h 262"/>
                <a:gd name="T32" fmla="*/ 146 w 254"/>
                <a:gd name="T33" fmla="*/ 196 h 262"/>
                <a:gd name="T34" fmla="*/ 155 w 254"/>
                <a:gd name="T35" fmla="*/ 191 h 262"/>
                <a:gd name="T36" fmla="*/ 163 w 254"/>
                <a:gd name="T37" fmla="*/ 181 h 262"/>
                <a:gd name="T38" fmla="*/ 171 w 254"/>
                <a:gd name="T39" fmla="*/ 169 h 262"/>
                <a:gd name="T40" fmla="*/ 175 w 254"/>
                <a:gd name="T41" fmla="*/ 152 h 262"/>
                <a:gd name="T42" fmla="*/ 177 w 254"/>
                <a:gd name="T43" fmla="*/ 131 h 262"/>
                <a:gd name="T44" fmla="*/ 175 w 254"/>
                <a:gd name="T45" fmla="*/ 110 h 262"/>
                <a:gd name="T46" fmla="*/ 171 w 254"/>
                <a:gd name="T47" fmla="*/ 93 h 262"/>
                <a:gd name="T48" fmla="*/ 163 w 254"/>
                <a:gd name="T49" fmla="*/ 80 h 262"/>
                <a:gd name="T50" fmla="*/ 155 w 254"/>
                <a:gd name="T51" fmla="*/ 71 h 262"/>
                <a:gd name="T52" fmla="*/ 146 w 254"/>
                <a:gd name="T53" fmla="*/ 66 h 262"/>
                <a:gd name="T54" fmla="*/ 136 w 254"/>
                <a:gd name="T55" fmla="*/ 64 h 262"/>
                <a:gd name="T56" fmla="*/ 127 w 254"/>
                <a:gd name="T57" fmla="*/ 63 h 262"/>
                <a:gd name="T58" fmla="*/ 127 w 254"/>
                <a:gd name="T59" fmla="*/ 0 h 262"/>
                <a:gd name="T60" fmla="*/ 158 w 254"/>
                <a:gd name="T61" fmla="*/ 3 h 262"/>
                <a:gd name="T62" fmla="*/ 186 w 254"/>
                <a:gd name="T63" fmla="*/ 13 h 262"/>
                <a:gd name="T64" fmla="*/ 208 w 254"/>
                <a:gd name="T65" fmla="*/ 28 h 262"/>
                <a:gd name="T66" fmla="*/ 228 w 254"/>
                <a:gd name="T67" fmla="*/ 48 h 262"/>
                <a:gd name="T68" fmla="*/ 242 w 254"/>
                <a:gd name="T69" fmla="*/ 71 h 262"/>
                <a:gd name="T70" fmla="*/ 250 w 254"/>
                <a:gd name="T71" fmla="*/ 100 h 262"/>
                <a:gd name="T72" fmla="*/ 254 w 254"/>
                <a:gd name="T73" fmla="*/ 131 h 262"/>
                <a:gd name="T74" fmla="*/ 250 w 254"/>
                <a:gd name="T75" fmla="*/ 162 h 262"/>
                <a:gd name="T76" fmla="*/ 242 w 254"/>
                <a:gd name="T77" fmla="*/ 191 h 262"/>
                <a:gd name="T78" fmla="*/ 228 w 254"/>
                <a:gd name="T79" fmla="*/ 215 h 262"/>
                <a:gd name="T80" fmla="*/ 208 w 254"/>
                <a:gd name="T81" fmla="*/ 235 h 262"/>
                <a:gd name="T82" fmla="*/ 186 w 254"/>
                <a:gd name="T83" fmla="*/ 250 h 262"/>
                <a:gd name="T84" fmla="*/ 158 w 254"/>
                <a:gd name="T85" fmla="*/ 260 h 262"/>
                <a:gd name="T86" fmla="*/ 127 w 254"/>
                <a:gd name="T87" fmla="*/ 262 h 262"/>
                <a:gd name="T88" fmla="*/ 96 w 254"/>
                <a:gd name="T89" fmla="*/ 260 h 262"/>
                <a:gd name="T90" fmla="*/ 69 w 254"/>
                <a:gd name="T91" fmla="*/ 250 h 262"/>
                <a:gd name="T92" fmla="*/ 45 w 254"/>
                <a:gd name="T93" fmla="*/ 235 h 262"/>
                <a:gd name="T94" fmla="*/ 27 w 254"/>
                <a:gd name="T95" fmla="*/ 215 h 262"/>
                <a:gd name="T96" fmla="*/ 12 w 254"/>
                <a:gd name="T97" fmla="*/ 191 h 262"/>
                <a:gd name="T98" fmla="*/ 3 w 254"/>
                <a:gd name="T99" fmla="*/ 162 h 262"/>
                <a:gd name="T100" fmla="*/ 0 w 254"/>
                <a:gd name="T101" fmla="*/ 131 h 262"/>
                <a:gd name="T102" fmla="*/ 3 w 254"/>
                <a:gd name="T103" fmla="*/ 100 h 262"/>
                <a:gd name="T104" fmla="*/ 12 w 254"/>
                <a:gd name="T105" fmla="*/ 71 h 262"/>
                <a:gd name="T106" fmla="*/ 27 w 254"/>
                <a:gd name="T107" fmla="*/ 48 h 262"/>
                <a:gd name="T108" fmla="*/ 45 w 254"/>
                <a:gd name="T109" fmla="*/ 28 h 262"/>
                <a:gd name="T110" fmla="*/ 69 w 254"/>
                <a:gd name="T111" fmla="*/ 13 h 262"/>
                <a:gd name="T112" fmla="*/ 96 w 254"/>
                <a:gd name="T113" fmla="*/ 3 h 262"/>
                <a:gd name="T114" fmla="*/ 127 w 254"/>
                <a:gd name="T11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62">
                  <a:moveTo>
                    <a:pt x="127" y="63"/>
                  </a:moveTo>
                  <a:lnTo>
                    <a:pt x="119" y="64"/>
                  </a:lnTo>
                  <a:lnTo>
                    <a:pt x="109" y="66"/>
                  </a:lnTo>
                  <a:lnTo>
                    <a:pt x="99" y="71"/>
                  </a:lnTo>
                  <a:lnTo>
                    <a:pt x="91" y="80"/>
                  </a:lnTo>
                  <a:lnTo>
                    <a:pt x="84" y="93"/>
                  </a:lnTo>
                  <a:lnTo>
                    <a:pt x="79" y="110"/>
                  </a:lnTo>
                  <a:lnTo>
                    <a:pt x="78" y="131"/>
                  </a:lnTo>
                  <a:lnTo>
                    <a:pt x="79" y="152"/>
                  </a:lnTo>
                  <a:lnTo>
                    <a:pt x="84" y="169"/>
                  </a:lnTo>
                  <a:lnTo>
                    <a:pt x="91" y="181"/>
                  </a:lnTo>
                  <a:lnTo>
                    <a:pt x="99" y="191"/>
                  </a:lnTo>
                  <a:lnTo>
                    <a:pt x="109" y="196"/>
                  </a:lnTo>
                  <a:lnTo>
                    <a:pt x="119" y="199"/>
                  </a:lnTo>
                  <a:lnTo>
                    <a:pt x="127" y="200"/>
                  </a:lnTo>
                  <a:lnTo>
                    <a:pt x="136" y="199"/>
                  </a:lnTo>
                  <a:lnTo>
                    <a:pt x="146" y="196"/>
                  </a:lnTo>
                  <a:lnTo>
                    <a:pt x="155" y="191"/>
                  </a:lnTo>
                  <a:lnTo>
                    <a:pt x="163" y="181"/>
                  </a:lnTo>
                  <a:lnTo>
                    <a:pt x="171" y="169"/>
                  </a:lnTo>
                  <a:lnTo>
                    <a:pt x="175" y="152"/>
                  </a:lnTo>
                  <a:lnTo>
                    <a:pt x="177" y="131"/>
                  </a:lnTo>
                  <a:lnTo>
                    <a:pt x="175" y="110"/>
                  </a:lnTo>
                  <a:lnTo>
                    <a:pt x="171" y="93"/>
                  </a:lnTo>
                  <a:lnTo>
                    <a:pt x="163" y="80"/>
                  </a:lnTo>
                  <a:lnTo>
                    <a:pt x="155" y="71"/>
                  </a:lnTo>
                  <a:lnTo>
                    <a:pt x="146" y="66"/>
                  </a:lnTo>
                  <a:lnTo>
                    <a:pt x="136" y="64"/>
                  </a:lnTo>
                  <a:lnTo>
                    <a:pt x="127" y="63"/>
                  </a:lnTo>
                  <a:close/>
                  <a:moveTo>
                    <a:pt x="127" y="0"/>
                  </a:moveTo>
                  <a:lnTo>
                    <a:pt x="158" y="3"/>
                  </a:lnTo>
                  <a:lnTo>
                    <a:pt x="186" y="13"/>
                  </a:lnTo>
                  <a:lnTo>
                    <a:pt x="208" y="28"/>
                  </a:lnTo>
                  <a:lnTo>
                    <a:pt x="228" y="48"/>
                  </a:lnTo>
                  <a:lnTo>
                    <a:pt x="242" y="71"/>
                  </a:lnTo>
                  <a:lnTo>
                    <a:pt x="250" y="100"/>
                  </a:lnTo>
                  <a:lnTo>
                    <a:pt x="254" y="131"/>
                  </a:lnTo>
                  <a:lnTo>
                    <a:pt x="250" y="162"/>
                  </a:lnTo>
                  <a:lnTo>
                    <a:pt x="242" y="191"/>
                  </a:lnTo>
                  <a:lnTo>
                    <a:pt x="228" y="215"/>
                  </a:lnTo>
                  <a:lnTo>
                    <a:pt x="208" y="235"/>
                  </a:lnTo>
                  <a:lnTo>
                    <a:pt x="186" y="250"/>
                  </a:lnTo>
                  <a:lnTo>
                    <a:pt x="158" y="260"/>
                  </a:lnTo>
                  <a:lnTo>
                    <a:pt x="127" y="262"/>
                  </a:lnTo>
                  <a:lnTo>
                    <a:pt x="96" y="260"/>
                  </a:lnTo>
                  <a:lnTo>
                    <a:pt x="69" y="250"/>
                  </a:lnTo>
                  <a:lnTo>
                    <a:pt x="45" y="235"/>
                  </a:lnTo>
                  <a:lnTo>
                    <a:pt x="27" y="215"/>
                  </a:lnTo>
                  <a:lnTo>
                    <a:pt x="12" y="191"/>
                  </a:lnTo>
                  <a:lnTo>
                    <a:pt x="3" y="162"/>
                  </a:lnTo>
                  <a:lnTo>
                    <a:pt x="0" y="131"/>
                  </a:lnTo>
                  <a:lnTo>
                    <a:pt x="3" y="100"/>
                  </a:lnTo>
                  <a:lnTo>
                    <a:pt x="12" y="71"/>
                  </a:lnTo>
                  <a:lnTo>
                    <a:pt x="27" y="48"/>
                  </a:lnTo>
                  <a:lnTo>
                    <a:pt x="45" y="28"/>
                  </a:lnTo>
                  <a:lnTo>
                    <a:pt x="69" y="13"/>
                  </a:lnTo>
                  <a:lnTo>
                    <a:pt x="96" y="3"/>
                  </a:lnTo>
                  <a:lnTo>
                    <a:pt x="1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userDrawn="1"/>
          </p:nvSpPr>
          <p:spPr bwMode="auto">
            <a:xfrm>
              <a:off x="8489950" y="5645150"/>
              <a:ext cx="136525" cy="100013"/>
            </a:xfrm>
            <a:custGeom>
              <a:avLst/>
              <a:gdLst>
                <a:gd name="T0" fmla="*/ 0 w 342"/>
                <a:gd name="T1" fmla="*/ 0 h 249"/>
                <a:gd name="T2" fmla="*/ 76 w 342"/>
                <a:gd name="T3" fmla="*/ 0 h 249"/>
                <a:gd name="T4" fmla="*/ 106 w 342"/>
                <a:gd name="T5" fmla="*/ 154 h 249"/>
                <a:gd name="T6" fmla="*/ 107 w 342"/>
                <a:gd name="T7" fmla="*/ 154 h 249"/>
                <a:gd name="T8" fmla="*/ 137 w 342"/>
                <a:gd name="T9" fmla="*/ 0 h 249"/>
                <a:gd name="T10" fmla="*/ 205 w 342"/>
                <a:gd name="T11" fmla="*/ 0 h 249"/>
                <a:gd name="T12" fmla="*/ 234 w 342"/>
                <a:gd name="T13" fmla="*/ 155 h 249"/>
                <a:gd name="T14" fmla="*/ 235 w 342"/>
                <a:gd name="T15" fmla="*/ 155 h 249"/>
                <a:gd name="T16" fmla="*/ 266 w 342"/>
                <a:gd name="T17" fmla="*/ 0 h 249"/>
                <a:gd name="T18" fmla="*/ 342 w 342"/>
                <a:gd name="T19" fmla="*/ 0 h 249"/>
                <a:gd name="T20" fmla="*/ 272 w 342"/>
                <a:gd name="T21" fmla="*/ 249 h 249"/>
                <a:gd name="T22" fmla="*/ 196 w 342"/>
                <a:gd name="T23" fmla="*/ 249 h 249"/>
                <a:gd name="T24" fmla="*/ 170 w 342"/>
                <a:gd name="T25" fmla="*/ 97 h 249"/>
                <a:gd name="T26" fmla="*/ 169 w 342"/>
                <a:gd name="T27" fmla="*/ 97 h 249"/>
                <a:gd name="T28" fmla="*/ 143 w 342"/>
                <a:gd name="T29" fmla="*/ 249 h 249"/>
                <a:gd name="T30" fmla="*/ 67 w 342"/>
                <a:gd name="T31" fmla="*/ 249 h 249"/>
                <a:gd name="T32" fmla="*/ 0 w 342"/>
                <a:gd name="T3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249">
                  <a:moveTo>
                    <a:pt x="0" y="0"/>
                  </a:moveTo>
                  <a:lnTo>
                    <a:pt x="76" y="0"/>
                  </a:lnTo>
                  <a:lnTo>
                    <a:pt x="106" y="154"/>
                  </a:lnTo>
                  <a:lnTo>
                    <a:pt x="107" y="154"/>
                  </a:lnTo>
                  <a:lnTo>
                    <a:pt x="137" y="0"/>
                  </a:lnTo>
                  <a:lnTo>
                    <a:pt x="205" y="0"/>
                  </a:lnTo>
                  <a:lnTo>
                    <a:pt x="234" y="155"/>
                  </a:lnTo>
                  <a:lnTo>
                    <a:pt x="235" y="155"/>
                  </a:lnTo>
                  <a:lnTo>
                    <a:pt x="266" y="0"/>
                  </a:lnTo>
                  <a:lnTo>
                    <a:pt x="342" y="0"/>
                  </a:lnTo>
                  <a:lnTo>
                    <a:pt x="272" y="249"/>
                  </a:lnTo>
                  <a:lnTo>
                    <a:pt x="196" y="249"/>
                  </a:lnTo>
                  <a:lnTo>
                    <a:pt x="170" y="97"/>
                  </a:lnTo>
                  <a:lnTo>
                    <a:pt x="169" y="97"/>
                  </a:lnTo>
                  <a:lnTo>
                    <a:pt x="143" y="249"/>
                  </a:lnTo>
                  <a:lnTo>
                    <a:pt x="67" y="24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p:cNvSpPr>
            <p:nvPr userDrawn="1"/>
          </p:nvSpPr>
          <p:spPr bwMode="auto">
            <a:xfrm>
              <a:off x="7543800" y="4959350"/>
              <a:ext cx="341313" cy="452438"/>
            </a:xfrm>
            <a:custGeom>
              <a:avLst/>
              <a:gdLst>
                <a:gd name="T0" fmla="*/ 486 w 859"/>
                <a:gd name="T1" fmla="*/ 4 h 1142"/>
                <a:gd name="T2" fmla="*/ 603 w 859"/>
                <a:gd name="T3" fmla="*/ 30 h 1142"/>
                <a:gd name="T4" fmla="*/ 700 w 859"/>
                <a:gd name="T5" fmla="*/ 83 h 1142"/>
                <a:gd name="T6" fmla="*/ 771 w 859"/>
                <a:gd name="T7" fmla="*/ 167 h 1142"/>
                <a:gd name="T8" fmla="*/ 809 w 859"/>
                <a:gd name="T9" fmla="*/ 292 h 1142"/>
                <a:gd name="T10" fmla="*/ 641 w 859"/>
                <a:gd name="T11" fmla="*/ 307 h 1142"/>
                <a:gd name="T12" fmla="*/ 599 w 859"/>
                <a:gd name="T13" fmla="*/ 226 h 1142"/>
                <a:gd name="T14" fmla="*/ 528 w 859"/>
                <a:gd name="T15" fmla="*/ 179 h 1142"/>
                <a:gd name="T16" fmla="*/ 442 w 859"/>
                <a:gd name="T17" fmla="*/ 160 h 1142"/>
                <a:gd name="T18" fmla="*/ 358 w 859"/>
                <a:gd name="T19" fmla="*/ 162 h 1142"/>
                <a:gd name="T20" fmla="*/ 279 w 859"/>
                <a:gd name="T21" fmla="*/ 181 h 1142"/>
                <a:gd name="T22" fmla="*/ 220 w 859"/>
                <a:gd name="T23" fmla="*/ 225 h 1142"/>
                <a:gd name="T24" fmla="*/ 197 w 859"/>
                <a:gd name="T25" fmla="*/ 298 h 1142"/>
                <a:gd name="T26" fmla="*/ 220 w 859"/>
                <a:gd name="T27" fmla="*/ 367 h 1142"/>
                <a:gd name="T28" fmla="*/ 278 w 859"/>
                <a:gd name="T29" fmla="*/ 414 h 1142"/>
                <a:gd name="T30" fmla="*/ 363 w 859"/>
                <a:gd name="T31" fmla="*/ 446 h 1142"/>
                <a:gd name="T32" fmla="*/ 461 w 859"/>
                <a:gd name="T33" fmla="*/ 471 h 1142"/>
                <a:gd name="T34" fmla="*/ 564 w 859"/>
                <a:gd name="T35" fmla="*/ 496 h 1142"/>
                <a:gd name="T36" fmla="*/ 666 w 859"/>
                <a:gd name="T37" fmla="*/ 530 h 1142"/>
                <a:gd name="T38" fmla="*/ 756 w 859"/>
                <a:gd name="T39" fmla="*/ 578 h 1142"/>
                <a:gd name="T40" fmla="*/ 823 w 859"/>
                <a:gd name="T41" fmla="*/ 651 h 1142"/>
                <a:gd name="T42" fmla="*/ 856 w 859"/>
                <a:gd name="T43" fmla="*/ 754 h 1142"/>
                <a:gd name="T44" fmla="*/ 849 w 859"/>
                <a:gd name="T45" fmla="*/ 887 h 1142"/>
                <a:gd name="T46" fmla="*/ 801 w 859"/>
                <a:gd name="T47" fmla="*/ 992 h 1142"/>
                <a:gd name="T48" fmla="*/ 721 w 859"/>
                <a:gd name="T49" fmla="*/ 1067 h 1142"/>
                <a:gd name="T50" fmla="*/ 619 w 859"/>
                <a:gd name="T51" fmla="*/ 1114 h 1142"/>
                <a:gd name="T52" fmla="*/ 506 w 859"/>
                <a:gd name="T53" fmla="*/ 1138 h 1142"/>
                <a:gd name="T54" fmla="*/ 384 w 859"/>
                <a:gd name="T55" fmla="*/ 1140 h 1142"/>
                <a:gd name="T56" fmla="*/ 257 w 859"/>
                <a:gd name="T57" fmla="*/ 1119 h 1142"/>
                <a:gd name="T58" fmla="*/ 149 w 859"/>
                <a:gd name="T59" fmla="*/ 1069 h 1142"/>
                <a:gd name="T60" fmla="*/ 64 w 859"/>
                <a:gd name="T61" fmla="*/ 988 h 1142"/>
                <a:gd name="T62" fmla="*/ 13 w 859"/>
                <a:gd name="T63" fmla="*/ 871 h 1142"/>
                <a:gd name="T64" fmla="*/ 166 w 859"/>
                <a:gd name="T65" fmla="*/ 773 h 1142"/>
                <a:gd name="T66" fmla="*/ 191 w 859"/>
                <a:gd name="T67" fmla="*/ 872 h 1142"/>
                <a:gd name="T68" fmla="*/ 253 w 859"/>
                <a:gd name="T69" fmla="*/ 939 h 1142"/>
                <a:gd name="T70" fmla="*/ 339 w 859"/>
                <a:gd name="T71" fmla="*/ 973 h 1142"/>
                <a:gd name="T72" fmla="*/ 439 w 859"/>
                <a:gd name="T73" fmla="*/ 983 h 1142"/>
                <a:gd name="T74" fmla="*/ 513 w 859"/>
                <a:gd name="T75" fmla="*/ 978 h 1142"/>
                <a:gd name="T76" fmla="*/ 588 w 859"/>
                <a:gd name="T77" fmla="*/ 958 h 1142"/>
                <a:gd name="T78" fmla="*/ 648 w 859"/>
                <a:gd name="T79" fmla="*/ 919 h 1142"/>
                <a:gd name="T80" fmla="*/ 680 w 859"/>
                <a:gd name="T81" fmla="*/ 850 h 1142"/>
                <a:gd name="T82" fmla="*/ 671 w 859"/>
                <a:gd name="T83" fmla="*/ 764 h 1142"/>
                <a:gd name="T84" fmla="*/ 619 w 859"/>
                <a:gd name="T85" fmla="*/ 704 h 1142"/>
                <a:gd name="T86" fmla="*/ 534 w 859"/>
                <a:gd name="T87" fmla="*/ 664 h 1142"/>
                <a:gd name="T88" fmla="*/ 427 w 859"/>
                <a:gd name="T89" fmla="*/ 636 h 1142"/>
                <a:gd name="T90" fmla="*/ 317 w 859"/>
                <a:gd name="T91" fmla="*/ 610 h 1142"/>
                <a:gd name="T92" fmla="*/ 215 w 859"/>
                <a:gd name="T93" fmla="*/ 576 h 1142"/>
                <a:gd name="T94" fmla="*/ 125 w 859"/>
                <a:gd name="T95" fmla="*/ 527 h 1142"/>
                <a:gd name="T96" fmla="*/ 58 w 859"/>
                <a:gd name="T97" fmla="*/ 456 h 1142"/>
                <a:gd name="T98" fmla="*/ 23 w 859"/>
                <a:gd name="T99" fmla="*/ 353 h 1142"/>
                <a:gd name="T100" fmla="*/ 31 w 859"/>
                <a:gd name="T101" fmla="*/ 230 h 1142"/>
                <a:gd name="T102" fmla="*/ 80 w 859"/>
                <a:gd name="T103" fmla="*/ 132 h 1142"/>
                <a:gd name="T104" fmla="*/ 159 w 859"/>
                <a:gd name="T105" fmla="*/ 64 h 1142"/>
                <a:gd name="T106" fmla="*/ 257 w 859"/>
                <a:gd name="T107" fmla="*/ 20 h 1142"/>
                <a:gd name="T108" fmla="*/ 364 w 859"/>
                <a:gd name="T109" fmla="*/ 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9" h="1142">
                  <a:moveTo>
                    <a:pt x="399" y="0"/>
                  </a:moveTo>
                  <a:lnTo>
                    <a:pt x="442" y="2"/>
                  </a:lnTo>
                  <a:lnTo>
                    <a:pt x="486" y="4"/>
                  </a:lnTo>
                  <a:lnTo>
                    <a:pt x="527" y="10"/>
                  </a:lnTo>
                  <a:lnTo>
                    <a:pt x="565" y="19"/>
                  </a:lnTo>
                  <a:lnTo>
                    <a:pt x="603" y="30"/>
                  </a:lnTo>
                  <a:lnTo>
                    <a:pt x="638" y="44"/>
                  </a:lnTo>
                  <a:lnTo>
                    <a:pt x="670" y="61"/>
                  </a:lnTo>
                  <a:lnTo>
                    <a:pt x="700" y="83"/>
                  </a:lnTo>
                  <a:lnTo>
                    <a:pt x="726" y="108"/>
                  </a:lnTo>
                  <a:lnTo>
                    <a:pt x="750" y="135"/>
                  </a:lnTo>
                  <a:lnTo>
                    <a:pt x="771" y="167"/>
                  </a:lnTo>
                  <a:lnTo>
                    <a:pt x="787" y="205"/>
                  </a:lnTo>
                  <a:lnTo>
                    <a:pt x="801" y="246"/>
                  </a:lnTo>
                  <a:lnTo>
                    <a:pt x="809" y="292"/>
                  </a:lnTo>
                  <a:lnTo>
                    <a:pt x="814" y="342"/>
                  </a:lnTo>
                  <a:lnTo>
                    <a:pt x="648" y="342"/>
                  </a:lnTo>
                  <a:lnTo>
                    <a:pt x="641" y="307"/>
                  </a:lnTo>
                  <a:lnTo>
                    <a:pt x="631" y="276"/>
                  </a:lnTo>
                  <a:lnTo>
                    <a:pt x="618" y="248"/>
                  </a:lnTo>
                  <a:lnTo>
                    <a:pt x="599" y="226"/>
                  </a:lnTo>
                  <a:lnTo>
                    <a:pt x="578" y="206"/>
                  </a:lnTo>
                  <a:lnTo>
                    <a:pt x="554" y="191"/>
                  </a:lnTo>
                  <a:lnTo>
                    <a:pt x="528" y="179"/>
                  </a:lnTo>
                  <a:lnTo>
                    <a:pt x="501" y="170"/>
                  </a:lnTo>
                  <a:lnTo>
                    <a:pt x="472" y="164"/>
                  </a:lnTo>
                  <a:lnTo>
                    <a:pt x="442" y="160"/>
                  </a:lnTo>
                  <a:lnTo>
                    <a:pt x="412" y="159"/>
                  </a:lnTo>
                  <a:lnTo>
                    <a:pt x="385" y="160"/>
                  </a:lnTo>
                  <a:lnTo>
                    <a:pt x="358" y="162"/>
                  </a:lnTo>
                  <a:lnTo>
                    <a:pt x="330" y="166"/>
                  </a:lnTo>
                  <a:lnTo>
                    <a:pt x="304" y="172"/>
                  </a:lnTo>
                  <a:lnTo>
                    <a:pt x="279" y="181"/>
                  </a:lnTo>
                  <a:lnTo>
                    <a:pt x="257" y="193"/>
                  </a:lnTo>
                  <a:lnTo>
                    <a:pt x="237" y="207"/>
                  </a:lnTo>
                  <a:lnTo>
                    <a:pt x="220" y="225"/>
                  </a:lnTo>
                  <a:lnTo>
                    <a:pt x="207" y="246"/>
                  </a:lnTo>
                  <a:lnTo>
                    <a:pt x="200" y="269"/>
                  </a:lnTo>
                  <a:lnTo>
                    <a:pt x="197" y="298"/>
                  </a:lnTo>
                  <a:lnTo>
                    <a:pt x="200" y="324"/>
                  </a:lnTo>
                  <a:lnTo>
                    <a:pt x="207" y="347"/>
                  </a:lnTo>
                  <a:lnTo>
                    <a:pt x="220" y="367"/>
                  </a:lnTo>
                  <a:lnTo>
                    <a:pt x="236" y="384"/>
                  </a:lnTo>
                  <a:lnTo>
                    <a:pt x="256" y="400"/>
                  </a:lnTo>
                  <a:lnTo>
                    <a:pt x="278" y="414"/>
                  </a:lnTo>
                  <a:lnTo>
                    <a:pt x="304" y="426"/>
                  </a:lnTo>
                  <a:lnTo>
                    <a:pt x="333" y="436"/>
                  </a:lnTo>
                  <a:lnTo>
                    <a:pt x="363" y="446"/>
                  </a:lnTo>
                  <a:lnTo>
                    <a:pt x="395" y="455"/>
                  </a:lnTo>
                  <a:lnTo>
                    <a:pt x="427" y="464"/>
                  </a:lnTo>
                  <a:lnTo>
                    <a:pt x="461" y="471"/>
                  </a:lnTo>
                  <a:lnTo>
                    <a:pt x="495" y="479"/>
                  </a:lnTo>
                  <a:lnTo>
                    <a:pt x="528" y="488"/>
                  </a:lnTo>
                  <a:lnTo>
                    <a:pt x="564" y="496"/>
                  </a:lnTo>
                  <a:lnTo>
                    <a:pt x="599" y="506"/>
                  </a:lnTo>
                  <a:lnTo>
                    <a:pt x="634" y="517"/>
                  </a:lnTo>
                  <a:lnTo>
                    <a:pt x="666" y="530"/>
                  </a:lnTo>
                  <a:lnTo>
                    <a:pt x="699" y="544"/>
                  </a:lnTo>
                  <a:lnTo>
                    <a:pt x="728" y="560"/>
                  </a:lnTo>
                  <a:lnTo>
                    <a:pt x="756" y="578"/>
                  </a:lnTo>
                  <a:lnTo>
                    <a:pt x="781" y="600"/>
                  </a:lnTo>
                  <a:lnTo>
                    <a:pt x="803" y="623"/>
                  </a:lnTo>
                  <a:lnTo>
                    <a:pt x="823" y="651"/>
                  </a:lnTo>
                  <a:lnTo>
                    <a:pt x="838" y="682"/>
                  </a:lnTo>
                  <a:lnTo>
                    <a:pt x="849" y="717"/>
                  </a:lnTo>
                  <a:lnTo>
                    <a:pt x="856" y="754"/>
                  </a:lnTo>
                  <a:lnTo>
                    <a:pt x="859" y="798"/>
                  </a:lnTo>
                  <a:lnTo>
                    <a:pt x="856" y="844"/>
                  </a:lnTo>
                  <a:lnTo>
                    <a:pt x="849" y="887"/>
                  </a:lnTo>
                  <a:lnTo>
                    <a:pt x="837" y="926"/>
                  </a:lnTo>
                  <a:lnTo>
                    <a:pt x="820" y="961"/>
                  </a:lnTo>
                  <a:lnTo>
                    <a:pt x="801" y="992"/>
                  </a:lnTo>
                  <a:lnTo>
                    <a:pt x="777" y="1021"/>
                  </a:lnTo>
                  <a:lnTo>
                    <a:pt x="751" y="1046"/>
                  </a:lnTo>
                  <a:lnTo>
                    <a:pt x="721" y="1067"/>
                  </a:lnTo>
                  <a:lnTo>
                    <a:pt x="689" y="1086"/>
                  </a:lnTo>
                  <a:lnTo>
                    <a:pt x="655" y="1100"/>
                  </a:lnTo>
                  <a:lnTo>
                    <a:pt x="619" y="1114"/>
                  </a:lnTo>
                  <a:lnTo>
                    <a:pt x="583" y="1124"/>
                  </a:lnTo>
                  <a:lnTo>
                    <a:pt x="544" y="1132"/>
                  </a:lnTo>
                  <a:lnTo>
                    <a:pt x="506" y="1138"/>
                  </a:lnTo>
                  <a:lnTo>
                    <a:pt x="467" y="1140"/>
                  </a:lnTo>
                  <a:lnTo>
                    <a:pt x="429" y="1142"/>
                  </a:lnTo>
                  <a:lnTo>
                    <a:pt x="384" y="1140"/>
                  </a:lnTo>
                  <a:lnTo>
                    <a:pt x="339" y="1137"/>
                  </a:lnTo>
                  <a:lnTo>
                    <a:pt x="297" y="1129"/>
                  </a:lnTo>
                  <a:lnTo>
                    <a:pt x="257" y="1119"/>
                  </a:lnTo>
                  <a:lnTo>
                    <a:pt x="218" y="1105"/>
                  </a:lnTo>
                  <a:lnTo>
                    <a:pt x="182" y="1089"/>
                  </a:lnTo>
                  <a:lnTo>
                    <a:pt x="149" y="1069"/>
                  </a:lnTo>
                  <a:lnTo>
                    <a:pt x="118" y="1046"/>
                  </a:lnTo>
                  <a:lnTo>
                    <a:pt x="89" y="1020"/>
                  </a:lnTo>
                  <a:lnTo>
                    <a:pt x="64" y="988"/>
                  </a:lnTo>
                  <a:lnTo>
                    <a:pt x="43" y="953"/>
                  </a:lnTo>
                  <a:lnTo>
                    <a:pt x="26" y="915"/>
                  </a:lnTo>
                  <a:lnTo>
                    <a:pt x="13" y="871"/>
                  </a:lnTo>
                  <a:lnTo>
                    <a:pt x="3" y="824"/>
                  </a:lnTo>
                  <a:lnTo>
                    <a:pt x="0" y="773"/>
                  </a:lnTo>
                  <a:lnTo>
                    <a:pt x="166" y="773"/>
                  </a:lnTo>
                  <a:lnTo>
                    <a:pt x="170" y="810"/>
                  </a:lnTo>
                  <a:lnTo>
                    <a:pt x="179" y="844"/>
                  </a:lnTo>
                  <a:lnTo>
                    <a:pt x="191" y="872"/>
                  </a:lnTo>
                  <a:lnTo>
                    <a:pt x="209" y="899"/>
                  </a:lnTo>
                  <a:lnTo>
                    <a:pt x="230" y="920"/>
                  </a:lnTo>
                  <a:lnTo>
                    <a:pt x="253" y="939"/>
                  </a:lnTo>
                  <a:lnTo>
                    <a:pt x="279" y="952"/>
                  </a:lnTo>
                  <a:lnTo>
                    <a:pt x="308" y="965"/>
                  </a:lnTo>
                  <a:lnTo>
                    <a:pt x="339" y="973"/>
                  </a:lnTo>
                  <a:lnTo>
                    <a:pt x="370" y="978"/>
                  </a:lnTo>
                  <a:lnTo>
                    <a:pt x="404" y="982"/>
                  </a:lnTo>
                  <a:lnTo>
                    <a:pt x="439" y="983"/>
                  </a:lnTo>
                  <a:lnTo>
                    <a:pt x="462" y="983"/>
                  </a:lnTo>
                  <a:lnTo>
                    <a:pt x="488" y="981"/>
                  </a:lnTo>
                  <a:lnTo>
                    <a:pt x="513" y="978"/>
                  </a:lnTo>
                  <a:lnTo>
                    <a:pt x="539" y="973"/>
                  </a:lnTo>
                  <a:lnTo>
                    <a:pt x="564" y="967"/>
                  </a:lnTo>
                  <a:lnTo>
                    <a:pt x="588" y="958"/>
                  </a:lnTo>
                  <a:lnTo>
                    <a:pt x="610" y="947"/>
                  </a:lnTo>
                  <a:lnTo>
                    <a:pt x="630" y="935"/>
                  </a:lnTo>
                  <a:lnTo>
                    <a:pt x="648" y="919"/>
                  </a:lnTo>
                  <a:lnTo>
                    <a:pt x="662" y="899"/>
                  </a:lnTo>
                  <a:lnTo>
                    <a:pt x="674" y="876"/>
                  </a:lnTo>
                  <a:lnTo>
                    <a:pt x="680" y="850"/>
                  </a:lnTo>
                  <a:lnTo>
                    <a:pt x="682" y="821"/>
                  </a:lnTo>
                  <a:lnTo>
                    <a:pt x="680" y="790"/>
                  </a:lnTo>
                  <a:lnTo>
                    <a:pt x="671" y="764"/>
                  </a:lnTo>
                  <a:lnTo>
                    <a:pt x="659" y="742"/>
                  </a:lnTo>
                  <a:lnTo>
                    <a:pt x="641" y="722"/>
                  </a:lnTo>
                  <a:lnTo>
                    <a:pt x="619" y="704"/>
                  </a:lnTo>
                  <a:lnTo>
                    <a:pt x="594" y="689"/>
                  </a:lnTo>
                  <a:lnTo>
                    <a:pt x="565" y="676"/>
                  </a:lnTo>
                  <a:lnTo>
                    <a:pt x="534" y="664"/>
                  </a:lnTo>
                  <a:lnTo>
                    <a:pt x="501" y="654"/>
                  </a:lnTo>
                  <a:lnTo>
                    <a:pt x="465" y="644"/>
                  </a:lnTo>
                  <a:lnTo>
                    <a:pt x="427" y="636"/>
                  </a:lnTo>
                  <a:lnTo>
                    <a:pt x="390" y="627"/>
                  </a:lnTo>
                  <a:lnTo>
                    <a:pt x="352" y="618"/>
                  </a:lnTo>
                  <a:lnTo>
                    <a:pt x="317" y="610"/>
                  </a:lnTo>
                  <a:lnTo>
                    <a:pt x="282" y="600"/>
                  </a:lnTo>
                  <a:lnTo>
                    <a:pt x="247" y="588"/>
                  </a:lnTo>
                  <a:lnTo>
                    <a:pt x="215" y="576"/>
                  </a:lnTo>
                  <a:lnTo>
                    <a:pt x="182" y="562"/>
                  </a:lnTo>
                  <a:lnTo>
                    <a:pt x="153" y="546"/>
                  </a:lnTo>
                  <a:lnTo>
                    <a:pt x="125" y="527"/>
                  </a:lnTo>
                  <a:lnTo>
                    <a:pt x="99" y="506"/>
                  </a:lnTo>
                  <a:lnTo>
                    <a:pt x="77" y="483"/>
                  </a:lnTo>
                  <a:lnTo>
                    <a:pt x="58" y="456"/>
                  </a:lnTo>
                  <a:lnTo>
                    <a:pt x="42" y="425"/>
                  </a:lnTo>
                  <a:lnTo>
                    <a:pt x="31" y="392"/>
                  </a:lnTo>
                  <a:lnTo>
                    <a:pt x="23" y="353"/>
                  </a:lnTo>
                  <a:lnTo>
                    <a:pt x="21" y="311"/>
                  </a:lnTo>
                  <a:lnTo>
                    <a:pt x="23" y="268"/>
                  </a:lnTo>
                  <a:lnTo>
                    <a:pt x="31" y="230"/>
                  </a:lnTo>
                  <a:lnTo>
                    <a:pt x="43" y="193"/>
                  </a:lnTo>
                  <a:lnTo>
                    <a:pt x="59" y="161"/>
                  </a:lnTo>
                  <a:lnTo>
                    <a:pt x="80" y="132"/>
                  </a:lnTo>
                  <a:lnTo>
                    <a:pt x="103" y="106"/>
                  </a:lnTo>
                  <a:lnTo>
                    <a:pt x="130" y="84"/>
                  </a:lnTo>
                  <a:lnTo>
                    <a:pt x="159" y="64"/>
                  </a:lnTo>
                  <a:lnTo>
                    <a:pt x="190" y="46"/>
                  </a:lnTo>
                  <a:lnTo>
                    <a:pt x="222" y="32"/>
                  </a:lnTo>
                  <a:lnTo>
                    <a:pt x="257" y="20"/>
                  </a:lnTo>
                  <a:lnTo>
                    <a:pt x="292" y="12"/>
                  </a:lnTo>
                  <a:lnTo>
                    <a:pt x="328" y="5"/>
                  </a:lnTo>
                  <a:lnTo>
                    <a:pt x="364" y="2"/>
                  </a:lnTo>
                  <a:lnTo>
                    <a:pt x="39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noEditPoints="1"/>
            </p:cNvSpPr>
            <p:nvPr userDrawn="1"/>
          </p:nvSpPr>
          <p:spPr bwMode="auto">
            <a:xfrm>
              <a:off x="7897813" y="4959350"/>
              <a:ext cx="377825" cy="452438"/>
            </a:xfrm>
            <a:custGeom>
              <a:avLst/>
              <a:gdLst>
                <a:gd name="T0" fmla="*/ 631 w 951"/>
                <a:gd name="T1" fmla="*/ 580 h 1142"/>
                <a:gd name="T2" fmla="*/ 531 w 951"/>
                <a:gd name="T3" fmla="*/ 605 h 1142"/>
                <a:gd name="T4" fmla="*/ 418 w 951"/>
                <a:gd name="T5" fmla="*/ 621 h 1142"/>
                <a:gd name="T6" fmla="*/ 322 w 951"/>
                <a:gd name="T7" fmla="*/ 641 h 1142"/>
                <a:gd name="T8" fmla="*/ 248 w 951"/>
                <a:gd name="T9" fmla="*/ 676 h 1142"/>
                <a:gd name="T10" fmla="*/ 197 w 951"/>
                <a:gd name="T11" fmla="*/ 733 h 1142"/>
                <a:gd name="T12" fmla="*/ 177 w 951"/>
                <a:gd name="T13" fmla="*/ 823 h 1142"/>
                <a:gd name="T14" fmla="*/ 195 w 951"/>
                <a:gd name="T15" fmla="*/ 904 h 1142"/>
                <a:gd name="T16" fmla="*/ 246 w 951"/>
                <a:gd name="T17" fmla="*/ 953 h 1142"/>
                <a:gd name="T18" fmla="*/ 318 w 951"/>
                <a:gd name="T19" fmla="*/ 978 h 1142"/>
                <a:gd name="T20" fmla="*/ 420 w 951"/>
                <a:gd name="T21" fmla="*/ 981 h 1142"/>
                <a:gd name="T22" fmla="*/ 540 w 951"/>
                <a:gd name="T23" fmla="*/ 947 h 1142"/>
                <a:gd name="T24" fmla="*/ 621 w 951"/>
                <a:gd name="T25" fmla="*/ 885 h 1142"/>
                <a:gd name="T26" fmla="*/ 667 w 951"/>
                <a:gd name="T27" fmla="*/ 810 h 1142"/>
                <a:gd name="T28" fmla="*/ 682 w 951"/>
                <a:gd name="T29" fmla="*/ 737 h 1142"/>
                <a:gd name="T30" fmla="*/ 502 w 951"/>
                <a:gd name="T31" fmla="*/ 0 h 1142"/>
                <a:gd name="T32" fmla="*/ 604 w 951"/>
                <a:gd name="T33" fmla="*/ 12 h 1142"/>
                <a:gd name="T34" fmla="*/ 699 w 951"/>
                <a:gd name="T35" fmla="*/ 40 h 1142"/>
                <a:gd name="T36" fmla="*/ 776 w 951"/>
                <a:gd name="T37" fmla="*/ 93 h 1142"/>
                <a:gd name="T38" fmla="*/ 828 w 951"/>
                <a:gd name="T39" fmla="*/ 177 h 1142"/>
                <a:gd name="T40" fmla="*/ 848 w 951"/>
                <a:gd name="T41" fmla="*/ 299 h 1142"/>
                <a:gd name="T42" fmla="*/ 849 w 951"/>
                <a:gd name="T43" fmla="*/ 916 h 1142"/>
                <a:gd name="T44" fmla="*/ 861 w 951"/>
                <a:gd name="T45" fmla="*/ 967 h 1142"/>
                <a:gd name="T46" fmla="*/ 900 w 951"/>
                <a:gd name="T47" fmla="*/ 983 h 1142"/>
                <a:gd name="T48" fmla="*/ 951 w 951"/>
                <a:gd name="T49" fmla="*/ 972 h 1142"/>
                <a:gd name="T50" fmla="*/ 900 w 951"/>
                <a:gd name="T51" fmla="*/ 1134 h 1142"/>
                <a:gd name="T52" fmla="*/ 805 w 951"/>
                <a:gd name="T53" fmla="*/ 1139 h 1142"/>
                <a:gd name="T54" fmla="*/ 739 w 951"/>
                <a:gd name="T55" fmla="*/ 1110 h 1142"/>
                <a:gd name="T56" fmla="*/ 699 w 951"/>
                <a:gd name="T57" fmla="*/ 1042 h 1142"/>
                <a:gd name="T58" fmla="*/ 655 w 951"/>
                <a:gd name="T59" fmla="*/ 1013 h 1142"/>
                <a:gd name="T60" fmla="*/ 531 w 951"/>
                <a:gd name="T61" fmla="*/ 1100 h 1142"/>
                <a:gd name="T62" fmla="*/ 387 w 951"/>
                <a:gd name="T63" fmla="*/ 1139 h 1142"/>
                <a:gd name="T64" fmla="*/ 253 w 951"/>
                <a:gd name="T65" fmla="*/ 1135 h 1142"/>
                <a:gd name="T66" fmla="*/ 144 w 951"/>
                <a:gd name="T67" fmla="*/ 1100 h 1142"/>
                <a:gd name="T68" fmla="*/ 61 w 951"/>
                <a:gd name="T69" fmla="*/ 1032 h 1142"/>
                <a:gd name="T70" fmla="*/ 11 w 951"/>
                <a:gd name="T71" fmla="*/ 927 h 1142"/>
                <a:gd name="T72" fmla="*/ 3 w 951"/>
                <a:gd name="T73" fmla="*/ 789 h 1142"/>
                <a:gd name="T74" fmla="*/ 34 w 951"/>
                <a:gd name="T75" fmla="*/ 676 h 1142"/>
                <a:gd name="T76" fmla="*/ 95 w 951"/>
                <a:gd name="T77" fmla="*/ 598 h 1142"/>
                <a:gd name="T78" fmla="*/ 178 w 951"/>
                <a:gd name="T79" fmla="*/ 549 h 1142"/>
                <a:gd name="T80" fmla="*/ 275 w 951"/>
                <a:gd name="T81" fmla="*/ 516 h 1142"/>
                <a:gd name="T82" fmla="*/ 382 w 951"/>
                <a:gd name="T83" fmla="*/ 493 h 1142"/>
                <a:gd name="T84" fmla="*/ 491 w 951"/>
                <a:gd name="T85" fmla="*/ 475 h 1142"/>
                <a:gd name="T86" fmla="*/ 582 w 951"/>
                <a:gd name="T87" fmla="*/ 456 h 1142"/>
                <a:gd name="T88" fmla="*/ 648 w 951"/>
                <a:gd name="T89" fmla="*/ 424 h 1142"/>
                <a:gd name="T90" fmla="*/ 682 w 951"/>
                <a:gd name="T91" fmla="*/ 367 h 1142"/>
                <a:gd name="T92" fmla="*/ 675 w 951"/>
                <a:gd name="T93" fmla="*/ 277 h 1142"/>
                <a:gd name="T94" fmla="*/ 638 w 951"/>
                <a:gd name="T95" fmla="*/ 212 h 1142"/>
                <a:gd name="T96" fmla="*/ 580 w 951"/>
                <a:gd name="T97" fmla="*/ 176 h 1142"/>
                <a:gd name="T98" fmla="*/ 507 w 951"/>
                <a:gd name="T99" fmla="*/ 161 h 1142"/>
                <a:gd name="T100" fmla="*/ 424 w 951"/>
                <a:gd name="T101" fmla="*/ 160 h 1142"/>
                <a:gd name="T102" fmla="*/ 332 w 951"/>
                <a:gd name="T103" fmla="*/ 176 h 1142"/>
                <a:gd name="T104" fmla="*/ 261 w 951"/>
                <a:gd name="T105" fmla="*/ 220 h 1142"/>
                <a:gd name="T106" fmla="*/ 218 w 951"/>
                <a:gd name="T107" fmla="*/ 294 h 1142"/>
                <a:gd name="T108" fmla="*/ 40 w 951"/>
                <a:gd name="T109" fmla="*/ 365 h 1142"/>
                <a:gd name="T110" fmla="*/ 66 w 951"/>
                <a:gd name="T111" fmla="*/ 223 h 1142"/>
                <a:gd name="T112" fmla="*/ 129 w 951"/>
                <a:gd name="T113" fmla="*/ 120 h 1142"/>
                <a:gd name="T114" fmla="*/ 223 w 951"/>
                <a:gd name="T115" fmla="*/ 51 h 1142"/>
                <a:gd name="T116" fmla="*/ 338 w 951"/>
                <a:gd name="T117" fmla="*/ 13 h 1142"/>
                <a:gd name="T118" fmla="*/ 469 w 951"/>
                <a:gd name="T119" fmla="*/ 0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1" h="1142">
                  <a:moveTo>
                    <a:pt x="682" y="554"/>
                  </a:moveTo>
                  <a:lnTo>
                    <a:pt x="658" y="569"/>
                  </a:lnTo>
                  <a:lnTo>
                    <a:pt x="631" y="580"/>
                  </a:lnTo>
                  <a:lnTo>
                    <a:pt x="599" y="590"/>
                  </a:lnTo>
                  <a:lnTo>
                    <a:pt x="566" y="597"/>
                  </a:lnTo>
                  <a:lnTo>
                    <a:pt x="531" y="605"/>
                  </a:lnTo>
                  <a:lnTo>
                    <a:pt x="494" y="610"/>
                  </a:lnTo>
                  <a:lnTo>
                    <a:pt x="455" y="615"/>
                  </a:lnTo>
                  <a:lnTo>
                    <a:pt x="418" y="621"/>
                  </a:lnTo>
                  <a:lnTo>
                    <a:pt x="381" y="627"/>
                  </a:lnTo>
                  <a:lnTo>
                    <a:pt x="351" y="633"/>
                  </a:lnTo>
                  <a:lnTo>
                    <a:pt x="322" y="641"/>
                  </a:lnTo>
                  <a:lnTo>
                    <a:pt x="296" y="651"/>
                  </a:lnTo>
                  <a:lnTo>
                    <a:pt x="271" y="662"/>
                  </a:lnTo>
                  <a:lnTo>
                    <a:pt x="248" y="676"/>
                  </a:lnTo>
                  <a:lnTo>
                    <a:pt x="228" y="692"/>
                  </a:lnTo>
                  <a:lnTo>
                    <a:pt x="210" y="711"/>
                  </a:lnTo>
                  <a:lnTo>
                    <a:pt x="197" y="733"/>
                  </a:lnTo>
                  <a:lnTo>
                    <a:pt x="185" y="759"/>
                  </a:lnTo>
                  <a:lnTo>
                    <a:pt x="179" y="789"/>
                  </a:lnTo>
                  <a:lnTo>
                    <a:pt x="177" y="823"/>
                  </a:lnTo>
                  <a:lnTo>
                    <a:pt x="179" y="854"/>
                  </a:lnTo>
                  <a:lnTo>
                    <a:pt x="185" y="880"/>
                  </a:lnTo>
                  <a:lnTo>
                    <a:pt x="195" y="904"/>
                  </a:lnTo>
                  <a:lnTo>
                    <a:pt x="210" y="924"/>
                  </a:lnTo>
                  <a:lnTo>
                    <a:pt x="226" y="940"/>
                  </a:lnTo>
                  <a:lnTo>
                    <a:pt x="246" y="953"/>
                  </a:lnTo>
                  <a:lnTo>
                    <a:pt x="269" y="965"/>
                  </a:lnTo>
                  <a:lnTo>
                    <a:pt x="292" y="973"/>
                  </a:lnTo>
                  <a:lnTo>
                    <a:pt x="318" y="978"/>
                  </a:lnTo>
                  <a:lnTo>
                    <a:pt x="345" y="982"/>
                  </a:lnTo>
                  <a:lnTo>
                    <a:pt x="372" y="983"/>
                  </a:lnTo>
                  <a:lnTo>
                    <a:pt x="420" y="981"/>
                  </a:lnTo>
                  <a:lnTo>
                    <a:pt x="464" y="973"/>
                  </a:lnTo>
                  <a:lnTo>
                    <a:pt x="504" y="962"/>
                  </a:lnTo>
                  <a:lnTo>
                    <a:pt x="540" y="947"/>
                  </a:lnTo>
                  <a:lnTo>
                    <a:pt x="570" y="929"/>
                  </a:lnTo>
                  <a:lnTo>
                    <a:pt x="597" y="909"/>
                  </a:lnTo>
                  <a:lnTo>
                    <a:pt x="621" y="885"/>
                  </a:lnTo>
                  <a:lnTo>
                    <a:pt x="639" y="861"/>
                  </a:lnTo>
                  <a:lnTo>
                    <a:pt x="655" y="836"/>
                  </a:lnTo>
                  <a:lnTo>
                    <a:pt x="667" y="810"/>
                  </a:lnTo>
                  <a:lnTo>
                    <a:pt x="675" y="785"/>
                  </a:lnTo>
                  <a:lnTo>
                    <a:pt x="680" y="760"/>
                  </a:lnTo>
                  <a:lnTo>
                    <a:pt x="682" y="737"/>
                  </a:lnTo>
                  <a:lnTo>
                    <a:pt x="682" y="554"/>
                  </a:lnTo>
                  <a:close/>
                  <a:moveTo>
                    <a:pt x="469" y="0"/>
                  </a:moveTo>
                  <a:lnTo>
                    <a:pt x="502" y="0"/>
                  </a:lnTo>
                  <a:lnTo>
                    <a:pt x="537" y="3"/>
                  </a:lnTo>
                  <a:lnTo>
                    <a:pt x="571" y="7"/>
                  </a:lnTo>
                  <a:lnTo>
                    <a:pt x="604" y="12"/>
                  </a:lnTo>
                  <a:lnTo>
                    <a:pt x="637" y="18"/>
                  </a:lnTo>
                  <a:lnTo>
                    <a:pt x="669" y="28"/>
                  </a:lnTo>
                  <a:lnTo>
                    <a:pt x="699" y="40"/>
                  </a:lnTo>
                  <a:lnTo>
                    <a:pt x="726" y="54"/>
                  </a:lnTo>
                  <a:lnTo>
                    <a:pt x="752" y="73"/>
                  </a:lnTo>
                  <a:lnTo>
                    <a:pt x="776" y="93"/>
                  </a:lnTo>
                  <a:lnTo>
                    <a:pt x="797" y="117"/>
                  </a:lnTo>
                  <a:lnTo>
                    <a:pt x="815" y="145"/>
                  </a:lnTo>
                  <a:lnTo>
                    <a:pt x="828" y="177"/>
                  </a:lnTo>
                  <a:lnTo>
                    <a:pt x="840" y="213"/>
                  </a:lnTo>
                  <a:lnTo>
                    <a:pt x="846" y="255"/>
                  </a:lnTo>
                  <a:lnTo>
                    <a:pt x="848" y="299"/>
                  </a:lnTo>
                  <a:lnTo>
                    <a:pt x="848" y="861"/>
                  </a:lnTo>
                  <a:lnTo>
                    <a:pt x="848" y="890"/>
                  </a:lnTo>
                  <a:lnTo>
                    <a:pt x="849" y="916"/>
                  </a:lnTo>
                  <a:lnTo>
                    <a:pt x="851" y="937"/>
                  </a:lnTo>
                  <a:lnTo>
                    <a:pt x="854" y="953"/>
                  </a:lnTo>
                  <a:lnTo>
                    <a:pt x="861" y="967"/>
                  </a:lnTo>
                  <a:lnTo>
                    <a:pt x="871" y="976"/>
                  </a:lnTo>
                  <a:lnTo>
                    <a:pt x="883" y="981"/>
                  </a:lnTo>
                  <a:lnTo>
                    <a:pt x="900" y="983"/>
                  </a:lnTo>
                  <a:lnTo>
                    <a:pt x="915" y="982"/>
                  </a:lnTo>
                  <a:lnTo>
                    <a:pt x="933" y="980"/>
                  </a:lnTo>
                  <a:lnTo>
                    <a:pt x="951" y="972"/>
                  </a:lnTo>
                  <a:lnTo>
                    <a:pt x="951" y="1112"/>
                  </a:lnTo>
                  <a:lnTo>
                    <a:pt x="928" y="1124"/>
                  </a:lnTo>
                  <a:lnTo>
                    <a:pt x="900" y="1134"/>
                  </a:lnTo>
                  <a:lnTo>
                    <a:pt x="869" y="1139"/>
                  </a:lnTo>
                  <a:lnTo>
                    <a:pt x="832" y="1142"/>
                  </a:lnTo>
                  <a:lnTo>
                    <a:pt x="805" y="1139"/>
                  </a:lnTo>
                  <a:lnTo>
                    <a:pt x="780" y="1134"/>
                  </a:lnTo>
                  <a:lnTo>
                    <a:pt x="757" y="1124"/>
                  </a:lnTo>
                  <a:lnTo>
                    <a:pt x="739" y="1110"/>
                  </a:lnTo>
                  <a:lnTo>
                    <a:pt x="721" y="1092"/>
                  </a:lnTo>
                  <a:lnTo>
                    <a:pt x="709" y="1069"/>
                  </a:lnTo>
                  <a:lnTo>
                    <a:pt x="699" y="1042"/>
                  </a:lnTo>
                  <a:lnTo>
                    <a:pt x="694" y="1010"/>
                  </a:lnTo>
                  <a:lnTo>
                    <a:pt x="692" y="972"/>
                  </a:lnTo>
                  <a:lnTo>
                    <a:pt x="655" y="1013"/>
                  </a:lnTo>
                  <a:lnTo>
                    <a:pt x="617" y="1048"/>
                  </a:lnTo>
                  <a:lnTo>
                    <a:pt x="576" y="1077"/>
                  </a:lnTo>
                  <a:lnTo>
                    <a:pt x="531" y="1100"/>
                  </a:lnTo>
                  <a:lnTo>
                    <a:pt x="485" y="1119"/>
                  </a:lnTo>
                  <a:lnTo>
                    <a:pt x="438" y="1132"/>
                  </a:lnTo>
                  <a:lnTo>
                    <a:pt x="387" y="1139"/>
                  </a:lnTo>
                  <a:lnTo>
                    <a:pt x="336" y="1142"/>
                  </a:lnTo>
                  <a:lnTo>
                    <a:pt x="294" y="1140"/>
                  </a:lnTo>
                  <a:lnTo>
                    <a:pt x="253" y="1135"/>
                  </a:lnTo>
                  <a:lnTo>
                    <a:pt x="214" y="1127"/>
                  </a:lnTo>
                  <a:lnTo>
                    <a:pt x="178" y="1115"/>
                  </a:lnTo>
                  <a:lnTo>
                    <a:pt x="144" y="1100"/>
                  </a:lnTo>
                  <a:lnTo>
                    <a:pt x="113" y="1081"/>
                  </a:lnTo>
                  <a:lnTo>
                    <a:pt x="85" y="1058"/>
                  </a:lnTo>
                  <a:lnTo>
                    <a:pt x="61" y="1032"/>
                  </a:lnTo>
                  <a:lnTo>
                    <a:pt x="40" y="1001"/>
                  </a:lnTo>
                  <a:lnTo>
                    <a:pt x="22" y="966"/>
                  </a:lnTo>
                  <a:lnTo>
                    <a:pt x="11" y="927"/>
                  </a:lnTo>
                  <a:lnTo>
                    <a:pt x="3" y="884"/>
                  </a:lnTo>
                  <a:lnTo>
                    <a:pt x="0" y="835"/>
                  </a:lnTo>
                  <a:lnTo>
                    <a:pt x="3" y="789"/>
                  </a:lnTo>
                  <a:lnTo>
                    <a:pt x="9" y="747"/>
                  </a:lnTo>
                  <a:lnTo>
                    <a:pt x="20" y="709"/>
                  </a:lnTo>
                  <a:lnTo>
                    <a:pt x="34" y="676"/>
                  </a:lnTo>
                  <a:lnTo>
                    <a:pt x="51" y="647"/>
                  </a:lnTo>
                  <a:lnTo>
                    <a:pt x="71" y="621"/>
                  </a:lnTo>
                  <a:lnTo>
                    <a:pt x="95" y="598"/>
                  </a:lnTo>
                  <a:lnTo>
                    <a:pt x="121" y="580"/>
                  </a:lnTo>
                  <a:lnTo>
                    <a:pt x="148" y="562"/>
                  </a:lnTo>
                  <a:lnTo>
                    <a:pt x="178" y="549"/>
                  </a:lnTo>
                  <a:lnTo>
                    <a:pt x="209" y="536"/>
                  </a:lnTo>
                  <a:lnTo>
                    <a:pt x="241" y="525"/>
                  </a:lnTo>
                  <a:lnTo>
                    <a:pt x="275" y="516"/>
                  </a:lnTo>
                  <a:lnTo>
                    <a:pt x="308" y="507"/>
                  </a:lnTo>
                  <a:lnTo>
                    <a:pt x="343" y="500"/>
                  </a:lnTo>
                  <a:lnTo>
                    <a:pt x="382" y="493"/>
                  </a:lnTo>
                  <a:lnTo>
                    <a:pt x="420" y="486"/>
                  </a:lnTo>
                  <a:lnTo>
                    <a:pt x="456" y="481"/>
                  </a:lnTo>
                  <a:lnTo>
                    <a:pt x="491" y="475"/>
                  </a:lnTo>
                  <a:lnTo>
                    <a:pt x="524" y="470"/>
                  </a:lnTo>
                  <a:lnTo>
                    <a:pt x="555" y="464"/>
                  </a:lnTo>
                  <a:lnTo>
                    <a:pt x="582" y="456"/>
                  </a:lnTo>
                  <a:lnTo>
                    <a:pt x="607" y="448"/>
                  </a:lnTo>
                  <a:lnTo>
                    <a:pt x="629" y="438"/>
                  </a:lnTo>
                  <a:lnTo>
                    <a:pt x="648" y="424"/>
                  </a:lnTo>
                  <a:lnTo>
                    <a:pt x="663" y="408"/>
                  </a:lnTo>
                  <a:lnTo>
                    <a:pt x="674" y="389"/>
                  </a:lnTo>
                  <a:lnTo>
                    <a:pt x="682" y="367"/>
                  </a:lnTo>
                  <a:lnTo>
                    <a:pt x="684" y="341"/>
                  </a:lnTo>
                  <a:lnTo>
                    <a:pt x="682" y="307"/>
                  </a:lnTo>
                  <a:lnTo>
                    <a:pt x="675" y="277"/>
                  </a:lnTo>
                  <a:lnTo>
                    <a:pt x="667" y="252"/>
                  </a:lnTo>
                  <a:lnTo>
                    <a:pt x="654" y="230"/>
                  </a:lnTo>
                  <a:lnTo>
                    <a:pt x="638" y="212"/>
                  </a:lnTo>
                  <a:lnTo>
                    <a:pt x="621" y="197"/>
                  </a:lnTo>
                  <a:lnTo>
                    <a:pt x="601" y="185"/>
                  </a:lnTo>
                  <a:lnTo>
                    <a:pt x="580" y="176"/>
                  </a:lnTo>
                  <a:lnTo>
                    <a:pt x="556" y="169"/>
                  </a:lnTo>
                  <a:lnTo>
                    <a:pt x="532" y="164"/>
                  </a:lnTo>
                  <a:lnTo>
                    <a:pt x="507" y="161"/>
                  </a:lnTo>
                  <a:lnTo>
                    <a:pt x="483" y="159"/>
                  </a:lnTo>
                  <a:lnTo>
                    <a:pt x="459" y="159"/>
                  </a:lnTo>
                  <a:lnTo>
                    <a:pt x="424" y="160"/>
                  </a:lnTo>
                  <a:lnTo>
                    <a:pt x="392" y="162"/>
                  </a:lnTo>
                  <a:lnTo>
                    <a:pt x="361" y="169"/>
                  </a:lnTo>
                  <a:lnTo>
                    <a:pt x="332" y="176"/>
                  </a:lnTo>
                  <a:lnTo>
                    <a:pt x="306" y="187"/>
                  </a:lnTo>
                  <a:lnTo>
                    <a:pt x="282" y="202"/>
                  </a:lnTo>
                  <a:lnTo>
                    <a:pt x="261" y="220"/>
                  </a:lnTo>
                  <a:lnTo>
                    <a:pt x="244" y="241"/>
                  </a:lnTo>
                  <a:lnTo>
                    <a:pt x="229" y="266"/>
                  </a:lnTo>
                  <a:lnTo>
                    <a:pt x="218" y="294"/>
                  </a:lnTo>
                  <a:lnTo>
                    <a:pt x="210" y="328"/>
                  </a:lnTo>
                  <a:lnTo>
                    <a:pt x="206" y="365"/>
                  </a:lnTo>
                  <a:lnTo>
                    <a:pt x="40" y="365"/>
                  </a:lnTo>
                  <a:lnTo>
                    <a:pt x="44" y="313"/>
                  </a:lnTo>
                  <a:lnTo>
                    <a:pt x="52" y="267"/>
                  </a:lnTo>
                  <a:lnTo>
                    <a:pt x="66" y="223"/>
                  </a:lnTo>
                  <a:lnTo>
                    <a:pt x="83" y="185"/>
                  </a:lnTo>
                  <a:lnTo>
                    <a:pt x="105" y="151"/>
                  </a:lnTo>
                  <a:lnTo>
                    <a:pt x="129" y="120"/>
                  </a:lnTo>
                  <a:lnTo>
                    <a:pt x="158" y="94"/>
                  </a:lnTo>
                  <a:lnTo>
                    <a:pt x="189" y="70"/>
                  </a:lnTo>
                  <a:lnTo>
                    <a:pt x="223" y="51"/>
                  </a:lnTo>
                  <a:lnTo>
                    <a:pt x="259" y="35"/>
                  </a:lnTo>
                  <a:lnTo>
                    <a:pt x="297" y="22"/>
                  </a:lnTo>
                  <a:lnTo>
                    <a:pt x="338" y="13"/>
                  </a:lnTo>
                  <a:lnTo>
                    <a:pt x="381" y="5"/>
                  </a:lnTo>
                  <a:lnTo>
                    <a:pt x="424" y="2"/>
                  </a:lnTo>
                  <a:lnTo>
                    <a:pt x="46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
            <p:cNvSpPr>
              <a:spLocks/>
            </p:cNvSpPr>
            <p:nvPr userDrawn="1"/>
          </p:nvSpPr>
          <p:spPr bwMode="auto">
            <a:xfrm>
              <a:off x="8270875" y="4959350"/>
              <a:ext cx="341313" cy="452438"/>
            </a:xfrm>
            <a:custGeom>
              <a:avLst/>
              <a:gdLst>
                <a:gd name="T0" fmla="*/ 487 w 860"/>
                <a:gd name="T1" fmla="*/ 4 h 1142"/>
                <a:gd name="T2" fmla="*/ 603 w 860"/>
                <a:gd name="T3" fmla="*/ 30 h 1142"/>
                <a:gd name="T4" fmla="*/ 700 w 860"/>
                <a:gd name="T5" fmla="*/ 83 h 1142"/>
                <a:gd name="T6" fmla="*/ 771 w 860"/>
                <a:gd name="T7" fmla="*/ 167 h 1142"/>
                <a:gd name="T8" fmla="*/ 810 w 860"/>
                <a:gd name="T9" fmla="*/ 292 h 1142"/>
                <a:gd name="T10" fmla="*/ 642 w 860"/>
                <a:gd name="T11" fmla="*/ 307 h 1142"/>
                <a:gd name="T12" fmla="*/ 600 w 860"/>
                <a:gd name="T13" fmla="*/ 226 h 1142"/>
                <a:gd name="T14" fmla="*/ 529 w 860"/>
                <a:gd name="T15" fmla="*/ 179 h 1142"/>
                <a:gd name="T16" fmla="*/ 443 w 860"/>
                <a:gd name="T17" fmla="*/ 160 h 1142"/>
                <a:gd name="T18" fmla="*/ 358 w 860"/>
                <a:gd name="T19" fmla="*/ 162 h 1142"/>
                <a:gd name="T20" fmla="*/ 280 w 860"/>
                <a:gd name="T21" fmla="*/ 181 h 1142"/>
                <a:gd name="T22" fmla="*/ 220 w 860"/>
                <a:gd name="T23" fmla="*/ 225 h 1142"/>
                <a:gd name="T24" fmla="*/ 198 w 860"/>
                <a:gd name="T25" fmla="*/ 298 h 1142"/>
                <a:gd name="T26" fmla="*/ 220 w 860"/>
                <a:gd name="T27" fmla="*/ 367 h 1142"/>
                <a:gd name="T28" fmla="*/ 279 w 860"/>
                <a:gd name="T29" fmla="*/ 414 h 1142"/>
                <a:gd name="T30" fmla="*/ 363 w 860"/>
                <a:gd name="T31" fmla="*/ 446 h 1142"/>
                <a:gd name="T32" fmla="*/ 462 w 860"/>
                <a:gd name="T33" fmla="*/ 471 h 1142"/>
                <a:gd name="T34" fmla="*/ 564 w 860"/>
                <a:gd name="T35" fmla="*/ 496 h 1142"/>
                <a:gd name="T36" fmla="*/ 667 w 860"/>
                <a:gd name="T37" fmla="*/ 530 h 1142"/>
                <a:gd name="T38" fmla="*/ 756 w 860"/>
                <a:gd name="T39" fmla="*/ 578 h 1142"/>
                <a:gd name="T40" fmla="*/ 824 w 860"/>
                <a:gd name="T41" fmla="*/ 651 h 1142"/>
                <a:gd name="T42" fmla="*/ 857 w 860"/>
                <a:gd name="T43" fmla="*/ 754 h 1142"/>
                <a:gd name="T44" fmla="*/ 850 w 860"/>
                <a:gd name="T45" fmla="*/ 887 h 1142"/>
                <a:gd name="T46" fmla="*/ 801 w 860"/>
                <a:gd name="T47" fmla="*/ 992 h 1142"/>
                <a:gd name="T48" fmla="*/ 722 w 860"/>
                <a:gd name="T49" fmla="*/ 1067 h 1142"/>
                <a:gd name="T50" fmla="*/ 620 w 860"/>
                <a:gd name="T51" fmla="*/ 1114 h 1142"/>
                <a:gd name="T52" fmla="*/ 506 w 860"/>
                <a:gd name="T53" fmla="*/ 1138 h 1142"/>
                <a:gd name="T54" fmla="*/ 383 w 860"/>
                <a:gd name="T55" fmla="*/ 1140 h 1142"/>
                <a:gd name="T56" fmla="*/ 258 w 860"/>
                <a:gd name="T57" fmla="*/ 1119 h 1142"/>
                <a:gd name="T58" fmla="*/ 148 w 860"/>
                <a:gd name="T59" fmla="*/ 1069 h 1142"/>
                <a:gd name="T60" fmla="*/ 65 w 860"/>
                <a:gd name="T61" fmla="*/ 988 h 1142"/>
                <a:gd name="T62" fmla="*/ 13 w 860"/>
                <a:gd name="T63" fmla="*/ 871 h 1142"/>
                <a:gd name="T64" fmla="*/ 167 w 860"/>
                <a:gd name="T65" fmla="*/ 773 h 1142"/>
                <a:gd name="T66" fmla="*/ 192 w 860"/>
                <a:gd name="T67" fmla="*/ 872 h 1142"/>
                <a:gd name="T68" fmla="*/ 253 w 860"/>
                <a:gd name="T69" fmla="*/ 939 h 1142"/>
                <a:gd name="T70" fmla="*/ 339 w 860"/>
                <a:gd name="T71" fmla="*/ 973 h 1142"/>
                <a:gd name="T72" fmla="*/ 438 w 860"/>
                <a:gd name="T73" fmla="*/ 983 h 1142"/>
                <a:gd name="T74" fmla="*/ 514 w 860"/>
                <a:gd name="T75" fmla="*/ 978 h 1142"/>
                <a:gd name="T76" fmla="*/ 588 w 860"/>
                <a:gd name="T77" fmla="*/ 958 h 1142"/>
                <a:gd name="T78" fmla="*/ 648 w 860"/>
                <a:gd name="T79" fmla="*/ 919 h 1142"/>
                <a:gd name="T80" fmla="*/ 681 w 860"/>
                <a:gd name="T81" fmla="*/ 850 h 1142"/>
                <a:gd name="T82" fmla="*/ 672 w 860"/>
                <a:gd name="T83" fmla="*/ 764 h 1142"/>
                <a:gd name="T84" fmla="*/ 620 w 860"/>
                <a:gd name="T85" fmla="*/ 704 h 1142"/>
                <a:gd name="T86" fmla="*/ 534 w 860"/>
                <a:gd name="T87" fmla="*/ 664 h 1142"/>
                <a:gd name="T88" fmla="*/ 428 w 860"/>
                <a:gd name="T89" fmla="*/ 636 h 1142"/>
                <a:gd name="T90" fmla="*/ 317 w 860"/>
                <a:gd name="T91" fmla="*/ 610 h 1142"/>
                <a:gd name="T92" fmla="*/ 215 w 860"/>
                <a:gd name="T93" fmla="*/ 576 h 1142"/>
                <a:gd name="T94" fmla="*/ 126 w 860"/>
                <a:gd name="T95" fmla="*/ 527 h 1142"/>
                <a:gd name="T96" fmla="*/ 59 w 860"/>
                <a:gd name="T97" fmla="*/ 456 h 1142"/>
                <a:gd name="T98" fmla="*/ 24 w 860"/>
                <a:gd name="T99" fmla="*/ 353 h 1142"/>
                <a:gd name="T100" fmla="*/ 31 w 860"/>
                <a:gd name="T101" fmla="*/ 230 h 1142"/>
                <a:gd name="T102" fmla="*/ 80 w 860"/>
                <a:gd name="T103" fmla="*/ 132 h 1142"/>
                <a:gd name="T104" fmla="*/ 159 w 860"/>
                <a:gd name="T105" fmla="*/ 64 h 1142"/>
                <a:gd name="T106" fmla="*/ 258 w 860"/>
                <a:gd name="T107" fmla="*/ 20 h 1142"/>
                <a:gd name="T108" fmla="*/ 363 w 860"/>
                <a:gd name="T109" fmla="*/ 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0" h="1142">
                  <a:moveTo>
                    <a:pt x="399" y="0"/>
                  </a:moveTo>
                  <a:lnTo>
                    <a:pt x="443" y="2"/>
                  </a:lnTo>
                  <a:lnTo>
                    <a:pt x="487" y="4"/>
                  </a:lnTo>
                  <a:lnTo>
                    <a:pt x="528" y="10"/>
                  </a:lnTo>
                  <a:lnTo>
                    <a:pt x="566" y="19"/>
                  </a:lnTo>
                  <a:lnTo>
                    <a:pt x="603" y="30"/>
                  </a:lnTo>
                  <a:lnTo>
                    <a:pt x="638" y="44"/>
                  </a:lnTo>
                  <a:lnTo>
                    <a:pt x="671" y="61"/>
                  </a:lnTo>
                  <a:lnTo>
                    <a:pt x="700" y="83"/>
                  </a:lnTo>
                  <a:lnTo>
                    <a:pt x="727" y="108"/>
                  </a:lnTo>
                  <a:lnTo>
                    <a:pt x="750" y="135"/>
                  </a:lnTo>
                  <a:lnTo>
                    <a:pt x="771" y="167"/>
                  </a:lnTo>
                  <a:lnTo>
                    <a:pt x="787" y="205"/>
                  </a:lnTo>
                  <a:lnTo>
                    <a:pt x="800" y="246"/>
                  </a:lnTo>
                  <a:lnTo>
                    <a:pt x="810" y="292"/>
                  </a:lnTo>
                  <a:lnTo>
                    <a:pt x="815" y="342"/>
                  </a:lnTo>
                  <a:lnTo>
                    <a:pt x="648" y="342"/>
                  </a:lnTo>
                  <a:lnTo>
                    <a:pt x="642" y="307"/>
                  </a:lnTo>
                  <a:lnTo>
                    <a:pt x="632" y="276"/>
                  </a:lnTo>
                  <a:lnTo>
                    <a:pt x="618" y="248"/>
                  </a:lnTo>
                  <a:lnTo>
                    <a:pt x="600" y="226"/>
                  </a:lnTo>
                  <a:lnTo>
                    <a:pt x="579" y="206"/>
                  </a:lnTo>
                  <a:lnTo>
                    <a:pt x="555" y="191"/>
                  </a:lnTo>
                  <a:lnTo>
                    <a:pt x="529" y="179"/>
                  </a:lnTo>
                  <a:lnTo>
                    <a:pt x="501" y="170"/>
                  </a:lnTo>
                  <a:lnTo>
                    <a:pt x="473" y="164"/>
                  </a:lnTo>
                  <a:lnTo>
                    <a:pt x="443" y="160"/>
                  </a:lnTo>
                  <a:lnTo>
                    <a:pt x="413" y="159"/>
                  </a:lnTo>
                  <a:lnTo>
                    <a:pt x="386" y="160"/>
                  </a:lnTo>
                  <a:lnTo>
                    <a:pt x="358" y="162"/>
                  </a:lnTo>
                  <a:lnTo>
                    <a:pt x="331" y="166"/>
                  </a:lnTo>
                  <a:lnTo>
                    <a:pt x="304" y="172"/>
                  </a:lnTo>
                  <a:lnTo>
                    <a:pt x="280" y="181"/>
                  </a:lnTo>
                  <a:lnTo>
                    <a:pt x="256" y="193"/>
                  </a:lnTo>
                  <a:lnTo>
                    <a:pt x="238" y="207"/>
                  </a:lnTo>
                  <a:lnTo>
                    <a:pt x="220" y="225"/>
                  </a:lnTo>
                  <a:lnTo>
                    <a:pt x="208" y="246"/>
                  </a:lnTo>
                  <a:lnTo>
                    <a:pt x="200" y="269"/>
                  </a:lnTo>
                  <a:lnTo>
                    <a:pt x="198" y="298"/>
                  </a:lnTo>
                  <a:lnTo>
                    <a:pt x="200" y="324"/>
                  </a:lnTo>
                  <a:lnTo>
                    <a:pt x="208" y="347"/>
                  </a:lnTo>
                  <a:lnTo>
                    <a:pt x="220" y="367"/>
                  </a:lnTo>
                  <a:lnTo>
                    <a:pt x="237" y="384"/>
                  </a:lnTo>
                  <a:lnTo>
                    <a:pt x="256" y="400"/>
                  </a:lnTo>
                  <a:lnTo>
                    <a:pt x="279" y="414"/>
                  </a:lnTo>
                  <a:lnTo>
                    <a:pt x="305" y="426"/>
                  </a:lnTo>
                  <a:lnTo>
                    <a:pt x="334" y="436"/>
                  </a:lnTo>
                  <a:lnTo>
                    <a:pt x="363" y="446"/>
                  </a:lnTo>
                  <a:lnTo>
                    <a:pt x="396" y="455"/>
                  </a:lnTo>
                  <a:lnTo>
                    <a:pt x="428" y="464"/>
                  </a:lnTo>
                  <a:lnTo>
                    <a:pt x="462" y="471"/>
                  </a:lnTo>
                  <a:lnTo>
                    <a:pt x="495" y="479"/>
                  </a:lnTo>
                  <a:lnTo>
                    <a:pt x="529" y="488"/>
                  </a:lnTo>
                  <a:lnTo>
                    <a:pt x="564" y="496"/>
                  </a:lnTo>
                  <a:lnTo>
                    <a:pt x="600" y="506"/>
                  </a:lnTo>
                  <a:lnTo>
                    <a:pt x="633" y="517"/>
                  </a:lnTo>
                  <a:lnTo>
                    <a:pt x="667" y="530"/>
                  </a:lnTo>
                  <a:lnTo>
                    <a:pt x="699" y="544"/>
                  </a:lnTo>
                  <a:lnTo>
                    <a:pt x="729" y="560"/>
                  </a:lnTo>
                  <a:lnTo>
                    <a:pt x="756" y="578"/>
                  </a:lnTo>
                  <a:lnTo>
                    <a:pt x="781" y="600"/>
                  </a:lnTo>
                  <a:lnTo>
                    <a:pt x="804" y="623"/>
                  </a:lnTo>
                  <a:lnTo>
                    <a:pt x="824" y="651"/>
                  </a:lnTo>
                  <a:lnTo>
                    <a:pt x="838" y="682"/>
                  </a:lnTo>
                  <a:lnTo>
                    <a:pt x="850" y="717"/>
                  </a:lnTo>
                  <a:lnTo>
                    <a:pt x="857" y="754"/>
                  </a:lnTo>
                  <a:lnTo>
                    <a:pt x="860" y="798"/>
                  </a:lnTo>
                  <a:lnTo>
                    <a:pt x="857" y="844"/>
                  </a:lnTo>
                  <a:lnTo>
                    <a:pt x="850" y="887"/>
                  </a:lnTo>
                  <a:lnTo>
                    <a:pt x="837" y="926"/>
                  </a:lnTo>
                  <a:lnTo>
                    <a:pt x="821" y="961"/>
                  </a:lnTo>
                  <a:lnTo>
                    <a:pt x="801" y="992"/>
                  </a:lnTo>
                  <a:lnTo>
                    <a:pt x="778" y="1021"/>
                  </a:lnTo>
                  <a:lnTo>
                    <a:pt x="750" y="1046"/>
                  </a:lnTo>
                  <a:lnTo>
                    <a:pt x="722" y="1067"/>
                  </a:lnTo>
                  <a:lnTo>
                    <a:pt x="689" y="1086"/>
                  </a:lnTo>
                  <a:lnTo>
                    <a:pt x="656" y="1100"/>
                  </a:lnTo>
                  <a:lnTo>
                    <a:pt x="620" y="1114"/>
                  </a:lnTo>
                  <a:lnTo>
                    <a:pt x="582" y="1124"/>
                  </a:lnTo>
                  <a:lnTo>
                    <a:pt x="545" y="1132"/>
                  </a:lnTo>
                  <a:lnTo>
                    <a:pt x="506" y="1138"/>
                  </a:lnTo>
                  <a:lnTo>
                    <a:pt x="468" y="1140"/>
                  </a:lnTo>
                  <a:lnTo>
                    <a:pt x="429" y="1142"/>
                  </a:lnTo>
                  <a:lnTo>
                    <a:pt x="383" y="1140"/>
                  </a:lnTo>
                  <a:lnTo>
                    <a:pt x="340" y="1137"/>
                  </a:lnTo>
                  <a:lnTo>
                    <a:pt x="297" y="1129"/>
                  </a:lnTo>
                  <a:lnTo>
                    <a:pt x="258" y="1119"/>
                  </a:lnTo>
                  <a:lnTo>
                    <a:pt x="219" y="1105"/>
                  </a:lnTo>
                  <a:lnTo>
                    <a:pt x="183" y="1089"/>
                  </a:lnTo>
                  <a:lnTo>
                    <a:pt x="148" y="1069"/>
                  </a:lnTo>
                  <a:lnTo>
                    <a:pt x="117" y="1046"/>
                  </a:lnTo>
                  <a:lnTo>
                    <a:pt x="90" y="1020"/>
                  </a:lnTo>
                  <a:lnTo>
                    <a:pt x="65" y="988"/>
                  </a:lnTo>
                  <a:lnTo>
                    <a:pt x="44" y="953"/>
                  </a:lnTo>
                  <a:lnTo>
                    <a:pt x="26" y="915"/>
                  </a:lnTo>
                  <a:lnTo>
                    <a:pt x="13" y="871"/>
                  </a:lnTo>
                  <a:lnTo>
                    <a:pt x="4" y="824"/>
                  </a:lnTo>
                  <a:lnTo>
                    <a:pt x="0" y="773"/>
                  </a:lnTo>
                  <a:lnTo>
                    <a:pt x="167" y="773"/>
                  </a:lnTo>
                  <a:lnTo>
                    <a:pt x="171" y="810"/>
                  </a:lnTo>
                  <a:lnTo>
                    <a:pt x="179" y="844"/>
                  </a:lnTo>
                  <a:lnTo>
                    <a:pt x="192" y="872"/>
                  </a:lnTo>
                  <a:lnTo>
                    <a:pt x="209" y="899"/>
                  </a:lnTo>
                  <a:lnTo>
                    <a:pt x="229" y="920"/>
                  </a:lnTo>
                  <a:lnTo>
                    <a:pt x="253" y="939"/>
                  </a:lnTo>
                  <a:lnTo>
                    <a:pt x="280" y="952"/>
                  </a:lnTo>
                  <a:lnTo>
                    <a:pt x="309" y="965"/>
                  </a:lnTo>
                  <a:lnTo>
                    <a:pt x="339" y="973"/>
                  </a:lnTo>
                  <a:lnTo>
                    <a:pt x="371" y="978"/>
                  </a:lnTo>
                  <a:lnTo>
                    <a:pt x="404" y="982"/>
                  </a:lnTo>
                  <a:lnTo>
                    <a:pt x="438" y="983"/>
                  </a:lnTo>
                  <a:lnTo>
                    <a:pt x="463" y="983"/>
                  </a:lnTo>
                  <a:lnTo>
                    <a:pt x="489" y="981"/>
                  </a:lnTo>
                  <a:lnTo>
                    <a:pt x="514" y="978"/>
                  </a:lnTo>
                  <a:lnTo>
                    <a:pt x="540" y="973"/>
                  </a:lnTo>
                  <a:lnTo>
                    <a:pt x="565" y="967"/>
                  </a:lnTo>
                  <a:lnTo>
                    <a:pt x="588" y="958"/>
                  </a:lnTo>
                  <a:lnTo>
                    <a:pt x="611" y="947"/>
                  </a:lnTo>
                  <a:lnTo>
                    <a:pt x="631" y="935"/>
                  </a:lnTo>
                  <a:lnTo>
                    <a:pt x="648" y="919"/>
                  </a:lnTo>
                  <a:lnTo>
                    <a:pt x="663" y="899"/>
                  </a:lnTo>
                  <a:lnTo>
                    <a:pt x="674" y="876"/>
                  </a:lnTo>
                  <a:lnTo>
                    <a:pt x="681" y="850"/>
                  </a:lnTo>
                  <a:lnTo>
                    <a:pt x="683" y="821"/>
                  </a:lnTo>
                  <a:lnTo>
                    <a:pt x="681" y="790"/>
                  </a:lnTo>
                  <a:lnTo>
                    <a:pt x="672" y="764"/>
                  </a:lnTo>
                  <a:lnTo>
                    <a:pt x="659" y="742"/>
                  </a:lnTo>
                  <a:lnTo>
                    <a:pt x="641" y="722"/>
                  </a:lnTo>
                  <a:lnTo>
                    <a:pt x="620" y="704"/>
                  </a:lnTo>
                  <a:lnTo>
                    <a:pt x="595" y="689"/>
                  </a:lnTo>
                  <a:lnTo>
                    <a:pt x="566" y="676"/>
                  </a:lnTo>
                  <a:lnTo>
                    <a:pt x="534" y="664"/>
                  </a:lnTo>
                  <a:lnTo>
                    <a:pt x="500" y="654"/>
                  </a:lnTo>
                  <a:lnTo>
                    <a:pt x="465" y="644"/>
                  </a:lnTo>
                  <a:lnTo>
                    <a:pt x="428" y="636"/>
                  </a:lnTo>
                  <a:lnTo>
                    <a:pt x="391" y="627"/>
                  </a:lnTo>
                  <a:lnTo>
                    <a:pt x="352" y="618"/>
                  </a:lnTo>
                  <a:lnTo>
                    <a:pt x="317" y="610"/>
                  </a:lnTo>
                  <a:lnTo>
                    <a:pt x="283" y="600"/>
                  </a:lnTo>
                  <a:lnTo>
                    <a:pt x="248" y="588"/>
                  </a:lnTo>
                  <a:lnTo>
                    <a:pt x="215" y="576"/>
                  </a:lnTo>
                  <a:lnTo>
                    <a:pt x="183" y="562"/>
                  </a:lnTo>
                  <a:lnTo>
                    <a:pt x="153" y="546"/>
                  </a:lnTo>
                  <a:lnTo>
                    <a:pt x="126" y="527"/>
                  </a:lnTo>
                  <a:lnTo>
                    <a:pt x="100" y="506"/>
                  </a:lnTo>
                  <a:lnTo>
                    <a:pt x="77" y="483"/>
                  </a:lnTo>
                  <a:lnTo>
                    <a:pt x="59" y="456"/>
                  </a:lnTo>
                  <a:lnTo>
                    <a:pt x="43" y="425"/>
                  </a:lnTo>
                  <a:lnTo>
                    <a:pt x="31" y="392"/>
                  </a:lnTo>
                  <a:lnTo>
                    <a:pt x="24" y="353"/>
                  </a:lnTo>
                  <a:lnTo>
                    <a:pt x="21" y="311"/>
                  </a:lnTo>
                  <a:lnTo>
                    <a:pt x="24" y="268"/>
                  </a:lnTo>
                  <a:lnTo>
                    <a:pt x="31" y="230"/>
                  </a:lnTo>
                  <a:lnTo>
                    <a:pt x="44" y="193"/>
                  </a:lnTo>
                  <a:lnTo>
                    <a:pt x="60" y="161"/>
                  </a:lnTo>
                  <a:lnTo>
                    <a:pt x="80" y="132"/>
                  </a:lnTo>
                  <a:lnTo>
                    <a:pt x="103" y="106"/>
                  </a:lnTo>
                  <a:lnTo>
                    <a:pt x="130" y="84"/>
                  </a:lnTo>
                  <a:lnTo>
                    <a:pt x="159" y="64"/>
                  </a:lnTo>
                  <a:lnTo>
                    <a:pt x="191" y="46"/>
                  </a:lnTo>
                  <a:lnTo>
                    <a:pt x="223" y="32"/>
                  </a:lnTo>
                  <a:lnTo>
                    <a:pt x="258" y="20"/>
                  </a:lnTo>
                  <a:lnTo>
                    <a:pt x="292" y="12"/>
                  </a:lnTo>
                  <a:lnTo>
                    <a:pt x="329" y="5"/>
                  </a:lnTo>
                  <a:lnTo>
                    <a:pt x="363" y="2"/>
                  </a:lnTo>
                  <a:lnTo>
                    <a:pt x="39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
            <p:cNvSpPr>
              <a:spLocks/>
            </p:cNvSpPr>
            <p:nvPr userDrawn="1"/>
          </p:nvSpPr>
          <p:spPr bwMode="auto">
            <a:xfrm>
              <a:off x="7050088" y="5060950"/>
              <a:ext cx="434975" cy="482600"/>
            </a:xfrm>
            <a:custGeom>
              <a:avLst/>
              <a:gdLst>
                <a:gd name="T0" fmla="*/ 622 w 1095"/>
                <a:gd name="T1" fmla="*/ 0 h 1217"/>
                <a:gd name="T2" fmla="*/ 664 w 1095"/>
                <a:gd name="T3" fmla="*/ 17 h 1217"/>
                <a:gd name="T4" fmla="*/ 710 w 1095"/>
                <a:gd name="T5" fmla="*/ 68 h 1217"/>
                <a:gd name="T6" fmla="*/ 947 w 1095"/>
                <a:gd name="T7" fmla="*/ 356 h 1217"/>
                <a:gd name="T8" fmla="*/ 1027 w 1095"/>
                <a:gd name="T9" fmla="*/ 472 h 1217"/>
                <a:gd name="T10" fmla="*/ 1075 w 1095"/>
                <a:gd name="T11" fmla="*/ 584 h 1217"/>
                <a:gd name="T12" fmla="*/ 1095 w 1095"/>
                <a:gd name="T13" fmla="*/ 691 h 1217"/>
                <a:gd name="T14" fmla="*/ 1090 w 1095"/>
                <a:gd name="T15" fmla="*/ 791 h 1217"/>
                <a:gd name="T16" fmla="*/ 1064 w 1095"/>
                <a:gd name="T17" fmla="*/ 884 h 1217"/>
                <a:gd name="T18" fmla="*/ 1020 w 1095"/>
                <a:gd name="T19" fmla="*/ 967 h 1217"/>
                <a:gd name="T20" fmla="*/ 961 w 1095"/>
                <a:gd name="T21" fmla="*/ 1040 h 1217"/>
                <a:gd name="T22" fmla="*/ 893 w 1095"/>
                <a:gd name="T23" fmla="*/ 1101 h 1217"/>
                <a:gd name="T24" fmla="*/ 817 w 1095"/>
                <a:gd name="T25" fmla="*/ 1151 h 1217"/>
                <a:gd name="T26" fmla="*/ 737 w 1095"/>
                <a:gd name="T27" fmla="*/ 1186 h 1217"/>
                <a:gd name="T28" fmla="*/ 629 w 1095"/>
                <a:gd name="T29" fmla="*/ 1211 h 1217"/>
                <a:gd name="T30" fmla="*/ 497 w 1095"/>
                <a:gd name="T31" fmla="*/ 1217 h 1217"/>
                <a:gd name="T32" fmla="*/ 374 w 1095"/>
                <a:gd name="T33" fmla="*/ 1196 h 1217"/>
                <a:gd name="T34" fmla="*/ 261 w 1095"/>
                <a:gd name="T35" fmla="*/ 1152 h 1217"/>
                <a:gd name="T36" fmla="*/ 163 w 1095"/>
                <a:gd name="T37" fmla="*/ 1087 h 1217"/>
                <a:gd name="T38" fmla="*/ 82 w 1095"/>
                <a:gd name="T39" fmla="*/ 1005 h 1217"/>
                <a:gd name="T40" fmla="*/ 22 w 1095"/>
                <a:gd name="T41" fmla="*/ 908 h 1217"/>
                <a:gd name="T42" fmla="*/ 25 w 1095"/>
                <a:gd name="T43" fmla="*/ 889 h 1217"/>
                <a:gd name="T44" fmla="*/ 89 w 1095"/>
                <a:gd name="T45" fmla="*/ 947 h 1217"/>
                <a:gd name="T46" fmla="*/ 169 w 1095"/>
                <a:gd name="T47" fmla="*/ 989 h 1217"/>
                <a:gd name="T48" fmla="*/ 258 w 1095"/>
                <a:gd name="T49" fmla="*/ 1016 h 1217"/>
                <a:gd name="T50" fmla="*/ 353 w 1095"/>
                <a:gd name="T51" fmla="*/ 1026 h 1217"/>
                <a:gd name="T52" fmla="*/ 446 w 1095"/>
                <a:gd name="T53" fmla="*/ 1023 h 1217"/>
                <a:gd name="T54" fmla="*/ 534 w 1095"/>
                <a:gd name="T55" fmla="*/ 1001 h 1217"/>
                <a:gd name="T56" fmla="*/ 612 w 1095"/>
                <a:gd name="T57" fmla="*/ 965 h 1217"/>
                <a:gd name="T58" fmla="*/ 695 w 1095"/>
                <a:gd name="T59" fmla="*/ 901 h 1217"/>
                <a:gd name="T60" fmla="*/ 757 w 1095"/>
                <a:gd name="T61" fmla="*/ 826 h 1217"/>
                <a:gd name="T62" fmla="*/ 796 w 1095"/>
                <a:gd name="T63" fmla="*/ 744 h 1217"/>
                <a:gd name="T64" fmla="*/ 811 w 1095"/>
                <a:gd name="T65" fmla="*/ 656 h 1217"/>
                <a:gd name="T66" fmla="*/ 799 w 1095"/>
                <a:gd name="T67" fmla="*/ 568 h 1217"/>
                <a:gd name="T68" fmla="*/ 761 w 1095"/>
                <a:gd name="T69" fmla="*/ 481 h 1217"/>
                <a:gd name="T70" fmla="*/ 729 w 1095"/>
                <a:gd name="T71" fmla="*/ 436 h 1217"/>
                <a:gd name="T72" fmla="*/ 714 w 1095"/>
                <a:gd name="T73" fmla="*/ 418 h 1217"/>
                <a:gd name="T74" fmla="*/ 686 w 1095"/>
                <a:gd name="T75" fmla="*/ 386 h 1217"/>
                <a:gd name="T76" fmla="*/ 651 w 1095"/>
                <a:gd name="T77" fmla="*/ 342 h 1217"/>
                <a:gd name="T78" fmla="*/ 610 w 1095"/>
                <a:gd name="T79" fmla="*/ 293 h 1217"/>
                <a:gd name="T80" fmla="*/ 567 w 1095"/>
                <a:gd name="T81" fmla="*/ 240 h 1217"/>
                <a:gd name="T82" fmla="*/ 525 w 1095"/>
                <a:gd name="T83" fmla="*/ 189 h 1217"/>
                <a:gd name="T84" fmla="*/ 521 w 1095"/>
                <a:gd name="T85" fmla="*/ 185 h 1217"/>
                <a:gd name="T86" fmla="*/ 515 w 1095"/>
                <a:gd name="T87" fmla="*/ 178 h 1217"/>
                <a:gd name="T88" fmla="*/ 512 w 1095"/>
                <a:gd name="T89" fmla="*/ 175 h 1217"/>
                <a:gd name="T90" fmla="*/ 492 w 1095"/>
                <a:gd name="T91" fmla="*/ 132 h 1217"/>
                <a:gd name="T92" fmla="*/ 495 w 1095"/>
                <a:gd name="T93" fmla="*/ 87 h 1217"/>
                <a:gd name="T94" fmla="*/ 517 w 1095"/>
                <a:gd name="T95" fmla="*/ 45 h 1217"/>
                <a:gd name="T96" fmla="*/ 556 w 1095"/>
                <a:gd name="T97" fmla="*/ 13 h 1217"/>
                <a:gd name="T98" fmla="*/ 599 w 1095"/>
                <a:gd name="T99" fmla="*/ 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17">
                  <a:moveTo>
                    <a:pt x="599" y="0"/>
                  </a:moveTo>
                  <a:lnTo>
                    <a:pt x="622" y="0"/>
                  </a:lnTo>
                  <a:lnTo>
                    <a:pt x="644" y="6"/>
                  </a:lnTo>
                  <a:lnTo>
                    <a:pt x="664" y="17"/>
                  </a:lnTo>
                  <a:lnTo>
                    <a:pt x="681" y="35"/>
                  </a:lnTo>
                  <a:lnTo>
                    <a:pt x="710" y="68"/>
                  </a:lnTo>
                  <a:lnTo>
                    <a:pt x="694" y="50"/>
                  </a:lnTo>
                  <a:lnTo>
                    <a:pt x="947" y="356"/>
                  </a:lnTo>
                  <a:lnTo>
                    <a:pt x="991" y="415"/>
                  </a:lnTo>
                  <a:lnTo>
                    <a:pt x="1027" y="472"/>
                  </a:lnTo>
                  <a:lnTo>
                    <a:pt x="1054" y="529"/>
                  </a:lnTo>
                  <a:lnTo>
                    <a:pt x="1075" y="584"/>
                  </a:lnTo>
                  <a:lnTo>
                    <a:pt x="1088" y="639"/>
                  </a:lnTo>
                  <a:lnTo>
                    <a:pt x="1095" y="691"/>
                  </a:lnTo>
                  <a:lnTo>
                    <a:pt x="1095" y="742"/>
                  </a:lnTo>
                  <a:lnTo>
                    <a:pt x="1090" y="791"/>
                  </a:lnTo>
                  <a:lnTo>
                    <a:pt x="1079" y="838"/>
                  </a:lnTo>
                  <a:lnTo>
                    <a:pt x="1064" y="884"/>
                  </a:lnTo>
                  <a:lnTo>
                    <a:pt x="1043" y="927"/>
                  </a:lnTo>
                  <a:lnTo>
                    <a:pt x="1020" y="967"/>
                  </a:lnTo>
                  <a:lnTo>
                    <a:pt x="992" y="1005"/>
                  </a:lnTo>
                  <a:lnTo>
                    <a:pt x="961" y="1040"/>
                  </a:lnTo>
                  <a:lnTo>
                    <a:pt x="929" y="1072"/>
                  </a:lnTo>
                  <a:lnTo>
                    <a:pt x="893" y="1101"/>
                  </a:lnTo>
                  <a:lnTo>
                    <a:pt x="855" y="1127"/>
                  </a:lnTo>
                  <a:lnTo>
                    <a:pt x="817" y="1151"/>
                  </a:lnTo>
                  <a:lnTo>
                    <a:pt x="777" y="1170"/>
                  </a:lnTo>
                  <a:lnTo>
                    <a:pt x="737" y="1186"/>
                  </a:lnTo>
                  <a:lnTo>
                    <a:pt x="697" y="1197"/>
                  </a:lnTo>
                  <a:lnTo>
                    <a:pt x="629" y="1211"/>
                  </a:lnTo>
                  <a:lnTo>
                    <a:pt x="563" y="1217"/>
                  </a:lnTo>
                  <a:lnTo>
                    <a:pt x="497" y="1217"/>
                  </a:lnTo>
                  <a:lnTo>
                    <a:pt x="434" y="1210"/>
                  </a:lnTo>
                  <a:lnTo>
                    <a:pt x="374" y="1196"/>
                  </a:lnTo>
                  <a:lnTo>
                    <a:pt x="316" y="1177"/>
                  </a:lnTo>
                  <a:lnTo>
                    <a:pt x="261" y="1152"/>
                  </a:lnTo>
                  <a:lnTo>
                    <a:pt x="210" y="1122"/>
                  </a:lnTo>
                  <a:lnTo>
                    <a:pt x="163" y="1087"/>
                  </a:lnTo>
                  <a:lnTo>
                    <a:pt x="120" y="1049"/>
                  </a:lnTo>
                  <a:lnTo>
                    <a:pt x="82" y="1005"/>
                  </a:lnTo>
                  <a:lnTo>
                    <a:pt x="49" y="959"/>
                  </a:lnTo>
                  <a:lnTo>
                    <a:pt x="22" y="908"/>
                  </a:lnTo>
                  <a:lnTo>
                    <a:pt x="0" y="854"/>
                  </a:lnTo>
                  <a:lnTo>
                    <a:pt x="25" y="889"/>
                  </a:lnTo>
                  <a:lnTo>
                    <a:pt x="56" y="920"/>
                  </a:lnTo>
                  <a:lnTo>
                    <a:pt x="89" y="947"/>
                  </a:lnTo>
                  <a:lnTo>
                    <a:pt x="128" y="970"/>
                  </a:lnTo>
                  <a:lnTo>
                    <a:pt x="169" y="989"/>
                  </a:lnTo>
                  <a:lnTo>
                    <a:pt x="212" y="1004"/>
                  </a:lnTo>
                  <a:lnTo>
                    <a:pt x="258" y="1016"/>
                  </a:lnTo>
                  <a:lnTo>
                    <a:pt x="306" y="1024"/>
                  </a:lnTo>
                  <a:lnTo>
                    <a:pt x="353" y="1026"/>
                  </a:lnTo>
                  <a:lnTo>
                    <a:pt x="400" y="1026"/>
                  </a:lnTo>
                  <a:lnTo>
                    <a:pt x="446" y="1023"/>
                  </a:lnTo>
                  <a:lnTo>
                    <a:pt x="491" y="1014"/>
                  </a:lnTo>
                  <a:lnTo>
                    <a:pt x="534" y="1001"/>
                  </a:lnTo>
                  <a:lnTo>
                    <a:pt x="576" y="985"/>
                  </a:lnTo>
                  <a:lnTo>
                    <a:pt x="612" y="965"/>
                  </a:lnTo>
                  <a:lnTo>
                    <a:pt x="656" y="934"/>
                  </a:lnTo>
                  <a:lnTo>
                    <a:pt x="695" y="901"/>
                  </a:lnTo>
                  <a:lnTo>
                    <a:pt x="729" y="864"/>
                  </a:lnTo>
                  <a:lnTo>
                    <a:pt x="757" y="826"/>
                  </a:lnTo>
                  <a:lnTo>
                    <a:pt x="779" y="786"/>
                  </a:lnTo>
                  <a:lnTo>
                    <a:pt x="796" y="744"/>
                  </a:lnTo>
                  <a:lnTo>
                    <a:pt x="807" y="700"/>
                  </a:lnTo>
                  <a:lnTo>
                    <a:pt x="811" y="656"/>
                  </a:lnTo>
                  <a:lnTo>
                    <a:pt x="809" y="613"/>
                  </a:lnTo>
                  <a:lnTo>
                    <a:pt x="799" y="568"/>
                  </a:lnTo>
                  <a:lnTo>
                    <a:pt x="784" y="524"/>
                  </a:lnTo>
                  <a:lnTo>
                    <a:pt x="761" y="481"/>
                  </a:lnTo>
                  <a:lnTo>
                    <a:pt x="731" y="438"/>
                  </a:lnTo>
                  <a:lnTo>
                    <a:pt x="729" y="436"/>
                  </a:lnTo>
                  <a:lnTo>
                    <a:pt x="724" y="430"/>
                  </a:lnTo>
                  <a:lnTo>
                    <a:pt x="714" y="418"/>
                  </a:lnTo>
                  <a:lnTo>
                    <a:pt x="701" y="403"/>
                  </a:lnTo>
                  <a:lnTo>
                    <a:pt x="686" y="386"/>
                  </a:lnTo>
                  <a:lnTo>
                    <a:pt x="670" y="365"/>
                  </a:lnTo>
                  <a:lnTo>
                    <a:pt x="651" y="342"/>
                  </a:lnTo>
                  <a:lnTo>
                    <a:pt x="631" y="319"/>
                  </a:lnTo>
                  <a:lnTo>
                    <a:pt x="610" y="293"/>
                  </a:lnTo>
                  <a:lnTo>
                    <a:pt x="588" y="266"/>
                  </a:lnTo>
                  <a:lnTo>
                    <a:pt x="567" y="240"/>
                  </a:lnTo>
                  <a:lnTo>
                    <a:pt x="544" y="215"/>
                  </a:lnTo>
                  <a:lnTo>
                    <a:pt x="525" y="189"/>
                  </a:lnTo>
                  <a:lnTo>
                    <a:pt x="525" y="190"/>
                  </a:lnTo>
                  <a:lnTo>
                    <a:pt x="521" y="185"/>
                  </a:lnTo>
                  <a:lnTo>
                    <a:pt x="517" y="182"/>
                  </a:lnTo>
                  <a:lnTo>
                    <a:pt x="515" y="178"/>
                  </a:lnTo>
                  <a:lnTo>
                    <a:pt x="513" y="177"/>
                  </a:lnTo>
                  <a:lnTo>
                    <a:pt x="512" y="175"/>
                  </a:lnTo>
                  <a:lnTo>
                    <a:pt x="500" y="154"/>
                  </a:lnTo>
                  <a:lnTo>
                    <a:pt x="492" y="132"/>
                  </a:lnTo>
                  <a:lnTo>
                    <a:pt x="491" y="109"/>
                  </a:lnTo>
                  <a:lnTo>
                    <a:pt x="495" y="87"/>
                  </a:lnTo>
                  <a:lnTo>
                    <a:pt x="503" y="65"/>
                  </a:lnTo>
                  <a:lnTo>
                    <a:pt x="517" y="45"/>
                  </a:lnTo>
                  <a:lnTo>
                    <a:pt x="534" y="27"/>
                  </a:lnTo>
                  <a:lnTo>
                    <a:pt x="556" y="13"/>
                  </a:lnTo>
                  <a:lnTo>
                    <a:pt x="577" y="4"/>
                  </a:lnTo>
                  <a:lnTo>
                    <a:pt x="59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4"/>
            <p:cNvSpPr>
              <a:spLocks/>
            </p:cNvSpPr>
            <p:nvPr userDrawn="1"/>
          </p:nvSpPr>
          <p:spPr bwMode="auto">
            <a:xfrm>
              <a:off x="7048500" y="4889500"/>
              <a:ext cx="434975" cy="481013"/>
            </a:xfrm>
            <a:custGeom>
              <a:avLst/>
              <a:gdLst>
                <a:gd name="T0" fmla="*/ 598 w 1096"/>
                <a:gd name="T1" fmla="*/ 0 h 1212"/>
                <a:gd name="T2" fmla="*/ 723 w 1096"/>
                <a:gd name="T3" fmla="*/ 21 h 1212"/>
                <a:gd name="T4" fmla="*/ 834 w 1096"/>
                <a:gd name="T5" fmla="*/ 65 h 1212"/>
                <a:gd name="T6" fmla="*/ 933 w 1096"/>
                <a:gd name="T7" fmla="*/ 130 h 1212"/>
                <a:gd name="T8" fmla="*/ 1014 w 1096"/>
                <a:gd name="T9" fmla="*/ 212 h 1212"/>
                <a:gd name="T10" fmla="*/ 1075 w 1096"/>
                <a:gd name="T11" fmla="*/ 309 h 1212"/>
                <a:gd name="T12" fmla="*/ 1071 w 1096"/>
                <a:gd name="T13" fmla="*/ 328 h 1212"/>
                <a:gd name="T14" fmla="*/ 1006 w 1096"/>
                <a:gd name="T15" fmla="*/ 271 h 1212"/>
                <a:gd name="T16" fmla="*/ 927 w 1096"/>
                <a:gd name="T17" fmla="*/ 228 h 1212"/>
                <a:gd name="T18" fmla="*/ 837 w 1096"/>
                <a:gd name="T19" fmla="*/ 201 h 1212"/>
                <a:gd name="T20" fmla="*/ 744 w 1096"/>
                <a:gd name="T21" fmla="*/ 190 h 1212"/>
                <a:gd name="T22" fmla="*/ 649 w 1096"/>
                <a:gd name="T23" fmla="*/ 195 h 1212"/>
                <a:gd name="T24" fmla="*/ 561 w 1096"/>
                <a:gd name="T25" fmla="*/ 215 h 1212"/>
                <a:gd name="T26" fmla="*/ 484 w 1096"/>
                <a:gd name="T27" fmla="*/ 252 h 1212"/>
                <a:gd name="T28" fmla="*/ 402 w 1096"/>
                <a:gd name="T29" fmla="*/ 315 h 1212"/>
                <a:gd name="T30" fmla="*/ 340 w 1096"/>
                <a:gd name="T31" fmla="*/ 390 h 1212"/>
                <a:gd name="T32" fmla="*/ 300 w 1096"/>
                <a:gd name="T33" fmla="*/ 474 h 1212"/>
                <a:gd name="T34" fmla="*/ 285 w 1096"/>
                <a:gd name="T35" fmla="*/ 561 h 1212"/>
                <a:gd name="T36" fmla="*/ 296 w 1096"/>
                <a:gd name="T37" fmla="*/ 649 h 1212"/>
                <a:gd name="T38" fmla="*/ 335 w 1096"/>
                <a:gd name="T39" fmla="*/ 737 h 1212"/>
                <a:gd name="T40" fmla="*/ 367 w 1096"/>
                <a:gd name="T41" fmla="*/ 781 h 1212"/>
                <a:gd name="T42" fmla="*/ 383 w 1096"/>
                <a:gd name="T43" fmla="*/ 800 h 1212"/>
                <a:gd name="T44" fmla="*/ 410 w 1096"/>
                <a:gd name="T45" fmla="*/ 834 h 1212"/>
                <a:gd name="T46" fmla="*/ 448 w 1096"/>
                <a:gd name="T47" fmla="*/ 877 h 1212"/>
                <a:gd name="T48" fmla="*/ 490 w 1096"/>
                <a:gd name="T49" fmla="*/ 928 h 1212"/>
                <a:gd name="T50" fmla="*/ 534 w 1096"/>
                <a:gd name="T51" fmla="*/ 982 h 1212"/>
                <a:gd name="T52" fmla="*/ 524 w 1096"/>
                <a:gd name="T53" fmla="*/ 970 h 1212"/>
                <a:gd name="T54" fmla="*/ 552 w 1096"/>
                <a:gd name="T55" fmla="*/ 1004 h 1212"/>
                <a:gd name="T56" fmla="*/ 571 w 1096"/>
                <a:gd name="T57" fmla="*/ 1028 h 1212"/>
                <a:gd name="T58" fmla="*/ 578 w 1096"/>
                <a:gd name="T59" fmla="*/ 1037 h 1212"/>
                <a:gd name="T60" fmla="*/ 599 w 1096"/>
                <a:gd name="T61" fmla="*/ 1079 h 1212"/>
                <a:gd name="T62" fmla="*/ 597 w 1096"/>
                <a:gd name="T63" fmla="*/ 1125 h 1212"/>
                <a:gd name="T64" fmla="*/ 575 w 1096"/>
                <a:gd name="T65" fmla="*/ 1166 h 1212"/>
                <a:gd name="T66" fmla="*/ 536 w 1096"/>
                <a:gd name="T67" fmla="*/ 1199 h 1212"/>
                <a:gd name="T68" fmla="*/ 491 w 1096"/>
                <a:gd name="T69" fmla="*/ 1212 h 1212"/>
                <a:gd name="T70" fmla="*/ 446 w 1096"/>
                <a:gd name="T71" fmla="*/ 1205 h 1212"/>
                <a:gd name="T72" fmla="*/ 409 w 1096"/>
                <a:gd name="T73" fmla="*/ 1178 h 1212"/>
                <a:gd name="T74" fmla="*/ 391 w 1096"/>
                <a:gd name="T75" fmla="*/ 1153 h 1212"/>
                <a:gd name="T76" fmla="*/ 104 w 1096"/>
                <a:gd name="T77" fmla="*/ 803 h 1212"/>
                <a:gd name="T78" fmla="*/ 41 w 1096"/>
                <a:gd name="T79" fmla="*/ 688 h 1212"/>
                <a:gd name="T80" fmla="*/ 7 w 1096"/>
                <a:gd name="T81" fmla="*/ 578 h 1212"/>
                <a:gd name="T82" fmla="*/ 0 w 1096"/>
                <a:gd name="T83" fmla="*/ 475 h 1212"/>
                <a:gd name="T84" fmla="*/ 16 w 1096"/>
                <a:gd name="T85" fmla="*/ 378 h 1212"/>
                <a:gd name="T86" fmla="*/ 52 w 1096"/>
                <a:gd name="T87" fmla="*/ 291 h 1212"/>
                <a:gd name="T88" fmla="*/ 103 w 1096"/>
                <a:gd name="T89" fmla="*/ 212 h 1212"/>
                <a:gd name="T90" fmla="*/ 168 w 1096"/>
                <a:gd name="T91" fmla="*/ 145 h 1212"/>
                <a:gd name="T92" fmla="*/ 240 w 1096"/>
                <a:gd name="T93" fmla="*/ 89 h 1212"/>
                <a:gd name="T94" fmla="*/ 318 w 1096"/>
                <a:gd name="T95" fmla="*/ 48 h 1212"/>
                <a:gd name="T96" fmla="*/ 398 w 1096"/>
                <a:gd name="T97" fmla="*/ 19 h 1212"/>
                <a:gd name="T98" fmla="*/ 534 w 1096"/>
                <a:gd name="T99" fmla="*/ 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12">
                  <a:moveTo>
                    <a:pt x="534" y="0"/>
                  </a:moveTo>
                  <a:lnTo>
                    <a:pt x="598" y="0"/>
                  </a:lnTo>
                  <a:lnTo>
                    <a:pt x="662" y="8"/>
                  </a:lnTo>
                  <a:lnTo>
                    <a:pt x="723" y="21"/>
                  </a:lnTo>
                  <a:lnTo>
                    <a:pt x="780" y="40"/>
                  </a:lnTo>
                  <a:lnTo>
                    <a:pt x="834" y="65"/>
                  </a:lnTo>
                  <a:lnTo>
                    <a:pt x="885" y="95"/>
                  </a:lnTo>
                  <a:lnTo>
                    <a:pt x="933" y="130"/>
                  </a:lnTo>
                  <a:lnTo>
                    <a:pt x="976" y="168"/>
                  </a:lnTo>
                  <a:lnTo>
                    <a:pt x="1014" y="212"/>
                  </a:lnTo>
                  <a:lnTo>
                    <a:pt x="1047" y="258"/>
                  </a:lnTo>
                  <a:lnTo>
                    <a:pt x="1075" y="309"/>
                  </a:lnTo>
                  <a:lnTo>
                    <a:pt x="1096" y="363"/>
                  </a:lnTo>
                  <a:lnTo>
                    <a:pt x="1071" y="328"/>
                  </a:lnTo>
                  <a:lnTo>
                    <a:pt x="1041" y="297"/>
                  </a:lnTo>
                  <a:lnTo>
                    <a:pt x="1006" y="271"/>
                  </a:lnTo>
                  <a:lnTo>
                    <a:pt x="968" y="247"/>
                  </a:lnTo>
                  <a:lnTo>
                    <a:pt x="927" y="228"/>
                  </a:lnTo>
                  <a:lnTo>
                    <a:pt x="883" y="212"/>
                  </a:lnTo>
                  <a:lnTo>
                    <a:pt x="837" y="201"/>
                  </a:lnTo>
                  <a:lnTo>
                    <a:pt x="791" y="193"/>
                  </a:lnTo>
                  <a:lnTo>
                    <a:pt x="744" y="190"/>
                  </a:lnTo>
                  <a:lnTo>
                    <a:pt x="696" y="190"/>
                  </a:lnTo>
                  <a:lnTo>
                    <a:pt x="649" y="195"/>
                  </a:lnTo>
                  <a:lnTo>
                    <a:pt x="604" y="203"/>
                  </a:lnTo>
                  <a:lnTo>
                    <a:pt x="561" y="215"/>
                  </a:lnTo>
                  <a:lnTo>
                    <a:pt x="521" y="231"/>
                  </a:lnTo>
                  <a:lnTo>
                    <a:pt x="484" y="252"/>
                  </a:lnTo>
                  <a:lnTo>
                    <a:pt x="440" y="282"/>
                  </a:lnTo>
                  <a:lnTo>
                    <a:pt x="402" y="315"/>
                  </a:lnTo>
                  <a:lnTo>
                    <a:pt x="368" y="352"/>
                  </a:lnTo>
                  <a:lnTo>
                    <a:pt x="340" y="390"/>
                  </a:lnTo>
                  <a:lnTo>
                    <a:pt x="317" y="431"/>
                  </a:lnTo>
                  <a:lnTo>
                    <a:pt x="300" y="474"/>
                  </a:lnTo>
                  <a:lnTo>
                    <a:pt x="290" y="516"/>
                  </a:lnTo>
                  <a:lnTo>
                    <a:pt x="285" y="561"/>
                  </a:lnTo>
                  <a:lnTo>
                    <a:pt x="287" y="604"/>
                  </a:lnTo>
                  <a:lnTo>
                    <a:pt x="296" y="649"/>
                  </a:lnTo>
                  <a:lnTo>
                    <a:pt x="312" y="693"/>
                  </a:lnTo>
                  <a:lnTo>
                    <a:pt x="335" y="737"/>
                  </a:lnTo>
                  <a:lnTo>
                    <a:pt x="366" y="779"/>
                  </a:lnTo>
                  <a:lnTo>
                    <a:pt x="367" y="781"/>
                  </a:lnTo>
                  <a:lnTo>
                    <a:pt x="373" y="788"/>
                  </a:lnTo>
                  <a:lnTo>
                    <a:pt x="383" y="800"/>
                  </a:lnTo>
                  <a:lnTo>
                    <a:pt x="395" y="815"/>
                  </a:lnTo>
                  <a:lnTo>
                    <a:pt x="410" y="834"/>
                  </a:lnTo>
                  <a:lnTo>
                    <a:pt x="428" y="855"/>
                  </a:lnTo>
                  <a:lnTo>
                    <a:pt x="448" y="877"/>
                  </a:lnTo>
                  <a:lnTo>
                    <a:pt x="468" y="902"/>
                  </a:lnTo>
                  <a:lnTo>
                    <a:pt x="490" y="928"/>
                  </a:lnTo>
                  <a:lnTo>
                    <a:pt x="511" y="955"/>
                  </a:lnTo>
                  <a:lnTo>
                    <a:pt x="534" y="982"/>
                  </a:lnTo>
                  <a:lnTo>
                    <a:pt x="556" y="1008"/>
                  </a:lnTo>
                  <a:lnTo>
                    <a:pt x="524" y="970"/>
                  </a:lnTo>
                  <a:lnTo>
                    <a:pt x="538" y="988"/>
                  </a:lnTo>
                  <a:lnTo>
                    <a:pt x="552" y="1004"/>
                  </a:lnTo>
                  <a:lnTo>
                    <a:pt x="563" y="1018"/>
                  </a:lnTo>
                  <a:lnTo>
                    <a:pt x="571" y="1028"/>
                  </a:lnTo>
                  <a:lnTo>
                    <a:pt x="576" y="1034"/>
                  </a:lnTo>
                  <a:lnTo>
                    <a:pt x="578" y="1037"/>
                  </a:lnTo>
                  <a:lnTo>
                    <a:pt x="592" y="1057"/>
                  </a:lnTo>
                  <a:lnTo>
                    <a:pt x="599" y="1079"/>
                  </a:lnTo>
                  <a:lnTo>
                    <a:pt x="601" y="1102"/>
                  </a:lnTo>
                  <a:lnTo>
                    <a:pt x="597" y="1125"/>
                  </a:lnTo>
                  <a:lnTo>
                    <a:pt x="588" y="1146"/>
                  </a:lnTo>
                  <a:lnTo>
                    <a:pt x="575" y="1166"/>
                  </a:lnTo>
                  <a:lnTo>
                    <a:pt x="556" y="1185"/>
                  </a:lnTo>
                  <a:lnTo>
                    <a:pt x="536" y="1199"/>
                  </a:lnTo>
                  <a:lnTo>
                    <a:pt x="514" y="1207"/>
                  </a:lnTo>
                  <a:lnTo>
                    <a:pt x="491" y="1212"/>
                  </a:lnTo>
                  <a:lnTo>
                    <a:pt x="469" y="1211"/>
                  </a:lnTo>
                  <a:lnTo>
                    <a:pt x="446" y="1205"/>
                  </a:lnTo>
                  <a:lnTo>
                    <a:pt x="427" y="1194"/>
                  </a:lnTo>
                  <a:lnTo>
                    <a:pt x="409" y="1178"/>
                  </a:lnTo>
                  <a:lnTo>
                    <a:pt x="352" y="1108"/>
                  </a:lnTo>
                  <a:lnTo>
                    <a:pt x="391" y="1153"/>
                  </a:lnTo>
                  <a:lnTo>
                    <a:pt x="149" y="861"/>
                  </a:lnTo>
                  <a:lnTo>
                    <a:pt x="104" y="803"/>
                  </a:lnTo>
                  <a:lnTo>
                    <a:pt x="68" y="744"/>
                  </a:lnTo>
                  <a:lnTo>
                    <a:pt x="41" y="688"/>
                  </a:lnTo>
                  <a:lnTo>
                    <a:pt x="21" y="632"/>
                  </a:lnTo>
                  <a:lnTo>
                    <a:pt x="7" y="578"/>
                  </a:lnTo>
                  <a:lnTo>
                    <a:pt x="1" y="526"/>
                  </a:lnTo>
                  <a:lnTo>
                    <a:pt x="0" y="475"/>
                  </a:lnTo>
                  <a:lnTo>
                    <a:pt x="6" y="425"/>
                  </a:lnTo>
                  <a:lnTo>
                    <a:pt x="16" y="378"/>
                  </a:lnTo>
                  <a:lnTo>
                    <a:pt x="32" y="333"/>
                  </a:lnTo>
                  <a:lnTo>
                    <a:pt x="52" y="291"/>
                  </a:lnTo>
                  <a:lnTo>
                    <a:pt x="76" y="249"/>
                  </a:lnTo>
                  <a:lnTo>
                    <a:pt x="103" y="212"/>
                  </a:lnTo>
                  <a:lnTo>
                    <a:pt x="134" y="177"/>
                  </a:lnTo>
                  <a:lnTo>
                    <a:pt x="168" y="145"/>
                  </a:lnTo>
                  <a:lnTo>
                    <a:pt x="203" y="115"/>
                  </a:lnTo>
                  <a:lnTo>
                    <a:pt x="240" y="89"/>
                  </a:lnTo>
                  <a:lnTo>
                    <a:pt x="279" y="66"/>
                  </a:lnTo>
                  <a:lnTo>
                    <a:pt x="318" y="48"/>
                  </a:lnTo>
                  <a:lnTo>
                    <a:pt x="358" y="31"/>
                  </a:lnTo>
                  <a:lnTo>
                    <a:pt x="398" y="19"/>
                  </a:lnTo>
                  <a:lnTo>
                    <a:pt x="466" y="6"/>
                  </a:lnTo>
                  <a:lnTo>
                    <a:pt x="53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5"/>
            <p:cNvSpPr>
              <a:spLocks noEditPoints="1"/>
            </p:cNvSpPr>
            <p:nvPr userDrawn="1"/>
          </p:nvSpPr>
          <p:spPr bwMode="auto">
            <a:xfrm>
              <a:off x="8618538" y="5702300"/>
              <a:ext cx="52388" cy="50800"/>
            </a:xfrm>
            <a:custGeom>
              <a:avLst/>
              <a:gdLst>
                <a:gd name="T0" fmla="*/ 51 w 131"/>
                <a:gd name="T1" fmla="*/ 60 h 130"/>
                <a:gd name="T2" fmla="*/ 68 w 131"/>
                <a:gd name="T3" fmla="*/ 60 h 130"/>
                <a:gd name="T4" fmla="*/ 76 w 131"/>
                <a:gd name="T5" fmla="*/ 59 h 130"/>
                <a:gd name="T6" fmla="*/ 81 w 131"/>
                <a:gd name="T7" fmla="*/ 55 h 130"/>
                <a:gd name="T8" fmla="*/ 83 w 131"/>
                <a:gd name="T9" fmla="*/ 49 h 130"/>
                <a:gd name="T10" fmla="*/ 81 w 131"/>
                <a:gd name="T11" fmla="*/ 43 h 130"/>
                <a:gd name="T12" fmla="*/ 76 w 131"/>
                <a:gd name="T13" fmla="*/ 39 h 130"/>
                <a:gd name="T14" fmla="*/ 70 w 131"/>
                <a:gd name="T15" fmla="*/ 38 h 130"/>
                <a:gd name="T16" fmla="*/ 51 w 131"/>
                <a:gd name="T17" fmla="*/ 38 h 130"/>
                <a:gd name="T18" fmla="*/ 68 w 131"/>
                <a:gd name="T19" fmla="*/ 28 h 130"/>
                <a:gd name="T20" fmla="*/ 88 w 131"/>
                <a:gd name="T21" fmla="*/ 33 h 130"/>
                <a:gd name="T22" fmla="*/ 95 w 131"/>
                <a:gd name="T23" fmla="*/ 49 h 130"/>
                <a:gd name="T24" fmla="*/ 90 w 131"/>
                <a:gd name="T25" fmla="*/ 64 h 130"/>
                <a:gd name="T26" fmla="*/ 76 w 131"/>
                <a:gd name="T27" fmla="*/ 69 h 130"/>
                <a:gd name="T28" fmla="*/ 83 w 131"/>
                <a:gd name="T29" fmla="*/ 103 h 130"/>
                <a:gd name="T30" fmla="*/ 51 w 131"/>
                <a:gd name="T31" fmla="*/ 70 h 130"/>
                <a:gd name="T32" fmla="*/ 40 w 131"/>
                <a:gd name="T33" fmla="*/ 103 h 130"/>
                <a:gd name="T34" fmla="*/ 65 w 131"/>
                <a:gd name="T35" fmla="*/ 12 h 130"/>
                <a:gd name="T36" fmla="*/ 34 w 131"/>
                <a:gd name="T37" fmla="*/ 22 h 130"/>
                <a:gd name="T38" fmla="*/ 15 w 131"/>
                <a:gd name="T39" fmla="*/ 48 h 130"/>
                <a:gd name="T40" fmla="*/ 15 w 131"/>
                <a:gd name="T41" fmla="*/ 83 h 130"/>
                <a:gd name="T42" fmla="*/ 34 w 131"/>
                <a:gd name="T43" fmla="*/ 109 h 130"/>
                <a:gd name="T44" fmla="*/ 65 w 131"/>
                <a:gd name="T45" fmla="*/ 119 h 130"/>
                <a:gd name="T46" fmla="*/ 96 w 131"/>
                <a:gd name="T47" fmla="*/ 109 h 130"/>
                <a:gd name="T48" fmla="*/ 114 w 131"/>
                <a:gd name="T49" fmla="*/ 83 h 130"/>
                <a:gd name="T50" fmla="*/ 114 w 131"/>
                <a:gd name="T51" fmla="*/ 48 h 130"/>
                <a:gd name="T52" fmla="*/ 96 w 131"/>
                <a:gd name="T53" fmla="*/ 22 h 130"/>
                <a:gd name="T54" fmla="*/ 65 w 131"/>
                <a:gd name="T55" fmla="*/ 12 h 130"/>
                <a:gd name="T56" fmla="*/ 86 w 131"/>
                <a:gd name="T57" fmla="*/ 4 h 130"/>
                <a:gd name="T58" fmla="*/ 117 w 131"/>
                <a:gd name="T59" fmla="*/ 27 h 130"/>
                <a:gd name="T60" fmla="*/ 131 w 131"/>
                <a:gd name="T61" fmla="*/ 65 h 130"/>
                <a:gd name="T62" fmla="*/ 117 w 131"/>
                <a:gd name="T63" fmla="*/ 104 h 130"/>
                <a:gd name="T64" fmla="*/ 86 w 131"/>
                <a:gd name="T65" fmla="*/ 126 h 130"/>
                <a:gd name="T66" fmla="*/ 45 w 131"/>
                <a:gd name="T67" fmla="*/ 126 h 130"/>
                <a:gd name="T68" fmla="*/ 12 w 131"/>
                <a:gd name="T69" fmla="*/ 104 h 130"/>
                <a:gd name="T70" fmla="*/ 0 w 131"/>
                <a:gd name="T71" fmla="*/ 65 h 130"/>
                <a:gd name="T72" fmla="*/ 12 w 131"/>
                <a:gd name="T73" fmla="*/ 27 h 130"/>
                <a:gd name="T74" fmla="*/ 45 w 131"/>
                <a:gd name="T75" fmla="*/ 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0">
                  <a:moveTo>
                    <a:pt x="51" y="38"/>
                  </a:moveTo>
                  <a:lnTo>
                    <a:pt x="51" y="60"/>
                  </a:lnTo>
                  <a:lnTo>
                    <a:pt x="65" y="60"/>
                  </a:lnTo>
                  <a:lnTo>
                    <a:pt x="68" y="60"/>
                  </a:lnTo>
                  <a:lnTo>
                    <a:pt x="72" y="60"/>
                  </a:lnTo>
                  <a:lnTo>
                    <a:pt x="76" y="59"/>
                  </a:lnTo>
                  <a:lnTo>
                    <a:pt x="78" y="58"/>
                  </a:lnTo>
                  <a:lnTo>
                    <a:pt x="81" y="55"/>
                  </a:lnTo>
                  <a:lnTo>
                    <a:pt x="82" y="53"/>
                  </a:lnTo>
                  <a:lnTo>
                    <a:pt x="83" y="49"/>
                  </a:lnTo>
                  <a:lnTo>
                    <a:pt x="82" y="45"/>
                  </a:lnTo>
                  <a:lnTo>
                    <a:pt x="81" y="43"/>
                  </a:lnTo>
                  <a:lnTo>
                    <a:pt x="78" y="40"/>
                  </a:lnTo>
                  <a:lnTo>
                    <a:pt x="76" y="39"/>
                  </a:lnTo>
                  <a:lnTo>
                    <a:pt x="73" y="38"/>
                  </a:lnTo>
                  <a:lnTo>
                    <a:pt x="70" y="38"/>
                  </a:lnTo>
                  <a:lnTo>
                    <a:pt x="67" y="38"/>
                  </a:lnTo>
                  <a:lnTo>
                    <a:pt x="51" y="38"/>
                  </a:lnTo>
                  <a:close/>
                  <a:moveTo>
                    <a:pt x="40" y="28"/>
                  </a:moveTo>
                  <a:lnTo>
                    <a:pt x="68" y="28"/>
                  </a:lnTo>
                  <a:lnTo>
                    <a:pt x="80" y="29"/>
                  </a:lnTo>
                  <a:lnTo>
                    <a:pt x="88" y="33"/>
                  </a:lnTo>
                  <a:lnTo>
                    <a:pt x="93" y="39"/>
                  </a:lnTo>
                  <a:lnTo>
                    <a:pt x="95" y="49"/>
                  </a:lnTo>
                  <a:lnTo>
                    <a:pt x="93" y="58"/>
                  </a:lnTo>
                  <a:lnTo>
                    <a:pt x="90" y="64"/>
                  </a:lnTo>
                  <a:lnTo>
                    <a:pt x="83" y="68"/>
                  </a:lnTo>
                  <a:lnTo>
                    <a:pt x="76" y="69"/>
                  </a:lnTo>
                  <a:lnTo>
                    <a:pt x="97" y="103"/>
                  </a:lnTo>
                  <a:lnTo>
                    <a:pt x="83" y="103"/>
                  </a:lnTo>
                  <a:lnTo>
                    <a:pt x="65" y="70"/>
                  </a:lnTo>
                  <a:lnTo>
                    <a:pt x="51" y="70"/>
                  </a:lnTo>
                  <a:lnTo>
                    <a:pt x="51" y="103"/>
                  </a:lnTo>
                  <a:lnTo>
                    <a:pt x="40" y="103"/>
                  </a:lnTo>
                  <a:lnTo>
                    <a:pt x="40" y="28"/>
                  </a:lnTo>
                  <a:close/>
                  <a:moveTo>
                    <a:pt x="65" y="12"/>
                  </a:moveTo>
                  <a:lnTo>
                    <a:pt x="49" y="14"/>
                  </a:lnTo>
                  <a:lnTo>
                    <a:pt x="34" y="22"/>
                  </a:lnTo>
                  <a:lnTo>
                    <a:pt x="22" y="33"/>
                  </a:lnTo>
                  <a:lnTo>
                    <a:pt x="15" y="48"/>
                  </a:lnTo>
                  <a:lnTo>
                    <a:pt x="12" y="65"/>
                  </a:lnTo>
                  <a:lnTo>
                    <a:pt x="15" y="83"/>
                  </a:lnTo>
                  <a:lnTo>
                    <a:pt x="22" y="98"/>
                  </a:lnTo>
                  <a:lnTo>
                    <a:pt x="34" y="109"/>
                  </a:lnTo>
                  <a:lnTo>
                    <a:pt x="49" y="116"/>
                  </a:lnTo>
                  <a:lnTo>
                    <a:pt x="65" y="119"/>
                  </a:lnTo>
                  <a:lnTo>
                    <a:pt x="82" y="116"/>
                  </a:lnTo>
                  <a:lnTo>
                    <a:pt x="96" y="109"/>
                  </a:lnTo>
                  <a:lnTo>
                    <a:pt x="107" y="98"/>
                  </a:lnTo>
                  <a:lnTo>
                    <a:pt x="114" y="83"/>
                  </a:lnTo>
                  <a:lnTo>
                    <a:pt x="117" y="65"/>
                  </a:lnTo>
                  <a:lnTo>
                    <a:pt x="114" y="48"/>
                  </a:lnTo>
                  <a:lnTo>
                    <a:pt x="107" y="33"/>
                  </a:lnTo>
                  <a:lnTo>
                    <a:pt x="96" y="22"/>
                  </a:lnTo>
                  <a:lnTo>
                    <a:pt x="82" y="14"/>
                  </a:lnTo>
                  <a:lnTo>
                    <a:pt x="65" y="12"/>
                  </a:lnTo>
                  <a:close/>
                  <a:moveTo>
                    <a:pt x="65" y="0"/>
                  </a:moveTo>
                  <a:lnTo>
                    <a:pt x="86" y="4"/>
                  </a:lnTo>
                  <a:lnTo>
                    <a:pt x="103" y="13"/>
                  </a:lnTo>
                  <a:lnTo>
                    <a:pt x="117" y="27"/>
                  </a:lnTo>
                  <a:lnTo>
                    <a:pt x="127" y="44"/>
                  </a:lnTo>
                  <a:lnTo>
                    <a:pt x="131" y="65"/>
                  </a:lnTo>
                  <a:lnTo>
                    <a:pt x="127" y="86"/>
                  </a:lnTo>
                  <a:lnTo>
                    <a:pt x="117" y="104"/>
                  </a:lnTo>
                  <a:lnTo>
                    <a:pt x="103" y="118"/>
                  </a:lnTo>
                  <a:lnTo>
                    <a:pt x="86" y="126"/>
                  </a:lnTo>
                  <a:lnTo>
                    <a:pt x="65" y="130"/>
                  </a:lnTo>
                  <a:lnTo>
                    <a:pt x="45" y="126"/>
                  </a:lnTo>
                  <a:lnTo>
                    <a:pt x="27" y="118"/>
                  </a:lnTo>
                  <a:lnTo>
                    <a:pt x="12" y="104"/>
                  </a:lnTo>
                  <a:lnTo>
                    <a:pt x="2" y="86"/>
                  </a:lnTo>
                  <a:lnTo>
                    <a:pt x="0" y="65"/>
                  </a:lnTo>
                  <a:lnTo>
                    <a:pt x="2" y="44"/>
                  </a:lnTo>
                  <a:lnTo>
                    <a:pt x="12" y="27"/>
                  </a:lnTo>
                  <a:lnTo>
                    <a:pt x="27" y="13"/>
                  </a:lnTo>
                  <a:lnTo>
                    <a:pt x="45" y="4"/>
                  </a:lnTo>
                  <a:lnTo>
                    <a:pt x="6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6"/>
            <p:cNvSpPr>
              <a:spLocks noEditPoints="1"/>
            </p:cNvSpPr>
            <p:nvPr userDrawn="1"/>
          </p:nvSpPr>
          <p:spPr bwMode="auto">
            <a:xfrm>
              <a:off x="8578850" y="5375275"/>
              <a:ext cx="52388" cy="50800"/>
            </a:xfrm>
            <a:custGeom>
              <a:avLst/>
              <a:gdLst>
                <a:gd name="T0" fmla="*/ 52 w 130"/>
                <a:gd name="T1" fmla="*/ 60 h 129"/>
                <a:gd name="T2" fmla="*/ 69 w 130"/>
                <a:gd name="T3" fmla="*/ 60 h 129"/>
                <a:gd name="T4" fmla="*/ 77 w 130"/>
                <a:gd name="T5" fmla="*/ 59 h 129"/>
                <a:gd name="T6" fmla="*/ 82 w 130"/>
                <a:gd name="T7" fmla="*/ 55 h 129"/>
                <a:gd name="T8" fmla="*/ 83 w 130"/>
                <a:gd name="T9" fmla="*/ 48 h 129"/>
                <a:gd name="T10" fmla="*/ 82 w 130"/>
                <a:gd name="T11" fmla="*/ 42 h 129"/>
                <a:gd name="T12" fmla="*/ 77 w 130"/>
                <a:gd name="T13" fmla="*/ 38 h 129"/>
                <a:gd name="T14" fmla="*/ 70 w 130"/>
                <a:gd name="T15" fmla="*/ 37 h 129"/>
                <a:gd name="T16" fmla="*/ 52 w 130"/>
                <a:gd name="T17" fmla="*/ 37 h 129"/>
                <a:gd name="T18" fmla="*/ 69 w 130"/>
                <a:gd name="T19" fmla="*/ 28 h 129"/>
                <a:gd name="T20" fmla="*/ 89 w 130"/>
                <a:gd name="T21" fmla="*/ 33 h 129"/>
                <a:gd name="T22" fmla="*/ 95 w 130"/>
                <a:gd name="T23" fmla="*/ 49 h 129"/>
                <a:gd name="T24" fmla="*/ 89 w 130"/>
                <a:gd name="T25" fmla="*/ 63 h 129"/>
                <a:gd name="T26" fmla="*/ 75 w 130"/>
                <a:gd name="T27" fmla="*/ 69 h 129"/>
                <a:gd name="T28" fmla="*/ 84 w 130"/>
                <a:gd name="T29" fmla="*/ 101 h 129"/>
                <a:gd name="T30" fmla="*/ 52 w 130"/>
                <a:gd name="T31" fmla="*/ 69 h 129"/>
                <a:gd name="T32" fmla="*/ 41 w 130"/>
                <a:gd name="T33" fmla="*/ 101 h 129"/>
                <a:gd name="T34" fmla="*/ 65 w 130"/>
                <a:gd name="T35" fmla="*/ 10 h 129"/>
                <a:gd name="T36" fmla="*/ 34 w 130"/>
                <a:gd name="T37" fmla="*/ 20 h 129"/>
                <a:gd name="T38" fmla="*/ 16 w 130"/>
                <a:gd name="T39" fmla="*/ 47 h 129"/>
                <a:gd name="T40" fmla="*/ 16 w 130"/>
                <a:gd name="T41" fmla="*/ 81 h 129"/>
                <a:gd name="T42" fmla="*/ 34 w 130"/>
                <a:gd name="T43" fmla="*/ 108 h 129"/>
                <a:gd name="T44" fmla="*/ 65 w 130"/>
                <a:gd name="T45" fmla="*/ 119 h 129"/>
                <a:gd name="T46" fmla="*/ 97 w 130"/>
                <a:gd name="T47" fmla="*/ 108 h 129"/>
                <a:gd name="T48" fmla="*/ 115 w 130"/>
                <a:gd name="T49" fmla="*/ 81 h 129"/>
                <a:gd name="T50" fmla="*/ 115 w 130"/>
                <a:gd name="T51" fmla="*/ 47 h 129"/>
                <a:gd name="T52" fmla="*/ 97 w 130"/>
                <a:gd name="T53" fmla="*/ 20 h 129"/>
                <a:gd name="T54" fmla="*/ 65 w 130"/>
                <a:gd name="T55" fmla="*/ 10 h 129"/>
                <a:gd name="T56" fmla="*/ 85 w 130"/>
                <a:gd name="T57" fmla="*/ 3 h 129"/>
                <a:gd name="T58" fmla="*/ 118 w 130"/>
                <a:gd name="T59" fmla="*/ 25 h 129"/>
                <a:gd name="T60" fmla="*/ 130 w 130"/>
                <a:gd name="T61" fmla="*/ 64 h 129"/>
                <a:gd name="T62" fmla="*/ 118 w 130"/>
                <a:gd name="T63" fmla="*/ 103 h 129"/>
                <a:gd name="T64" fmla="*/ 85 w 130"/>
                <a:gd name="T65" fmla="*/ 126 h 129"/>
                <a:gd name="T66" fmla="*/ 46 w 130"/>
                <a:gd name="T67" fmla="*/ 126 h 129"/>
                <a:gd name="T68" fmla="*/ 13 w 130"/>
                <a:gd name="T69" fmla="*/ 103 h 129"/>
                <a:gd name="T70" fmla="*/ 0 w 130"/>
                <a:gd name="T71" fmla="*/ 64 h 129"/>
                <a:gd name="T72" fmla="*/ 13 w 130"/>
                <a:gd name="T73" fmla="*/ 25 h 129"/>
                <a:gd name="T74" fmla="*/ 46 w 130"/>
                <a:gd name="T75"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9">
                  <a:moveTo>
                    <a:pt x="52" y="37"/>
                  </a:moveTo>
                  <a:lnTo>
                    <a:pt x="52" y="60"/>
                  </a:lnTo>
                  <a:lnTo>
                    <a:pt x="65" y="60"/>
                  </a:lnTo>
                  <a:lnTo>
                    <a:pt x="69" y="60"/>
                  </a:lnTo>
                  <a:lnTo>
                    <a:pt x="73" y="59"/>
                  </a:lnTo>
                  <a:lnTo>
                    <a:pt x="77" y="59"/>
                  </a:lnTo>
                  <a:lnTo>
                    <a:pt x="79" y="58"/>
                  </a:lnTo>
                  <a:lnTo>
                    <a:pt x="82" y="55"/>
                  </a:lnTo>
                  <a:lnTo>
                    <a:pt x="83" y="51"/>
                  </a:lnTo>
                  <a:lnTo>
                    <a:pt x="83" y="48"/>
                  </a:lnTo>
                  <a:lnTo>
                    <a:pt x="83" y="44"/>
                  </a:lnTo>
                  <a:lnTo>
                    <a:pt x="82" y="42"/>
                  </a:lnTo>
                  <a:lnTo>
                    <a:pt x="79" y="39"/>
                  </a:lnTo>
                  <a:lnTo>
                    <a:pt x="77" y="38"/>
                  </a:lnTo>
                  <a:lnTo>
                    <a:pt x="74" y="38"/>
                  </a:lnTo>
                  <a:lnTo>
                    <a:pt x="70" y="37"/>
                  </a:lnTo>
                  <a:lnTo>
                    <a:pt x="67" y="37"/>
                  </a:lnTo>
                  <a:lnTo>
                    <a:pt x="52" y="37"/>
                  </a:lnTo>
                  <a:close/>
                  <a:moveTo>
                    <a:pt x="41" y="28"/>
                  </a:moveTo>
                  <a:lnTo>
                    <a:pt x="69" y="28"/>
                  </a:lnTo>
                  <a:lnTo>
                    <a:pt x="80" y="29"/>
                  </a:lnTo>
                  <a:lnTo>
                    <a:pt x="89" y="33"/>
                  </a:lnTo>
                  <a:lnTo>
                    <a:pt x="94" y="39"/>
                  </a:lnTo>
                  <a:lnTo>
                    <a:pt x="95" y="49"/>
                  </a:lnTo>
                  <a:lnTo>
                    <a:pt x="94" y="56"/>
                  </a:lnTo>
                  <a:lnTo>
                    <a:pt x="89" y="63"/>
                  </a:lnTo>
                  <a:lnTo>
                    <a:pt x="83" y="66"/>
                  </a:lnTo>
                  <a:lnTo>
                    <a:pt x="75" y="69"/>
                  </a:lnTo>
                  <a:lnTo>
                    <a:pt x="97" y="101"/>
                  </a:lnTo>
                  <a:lnTo>
                    <a:pt x="84" y="101"/>
                  </a:lnTo>
                  <a:lnTo>
                    <a:pt x="64" y="69"/>
                  </a:lnTo>
                  <a:lnTo>
                    <a:pt x="52" y="69"/>
                  </a:lnTo>
                  <a:lnTo>
                    <a:pt x="52" y="101"/>
                  </a:lnTo>
                  <a:lnTo>
                    <a:pt x="41" y="101"/>
                  </a:lnTo>
                  <a:lnTo>
                    <a:pt x="41" y="28"/>
                  </a:lnTo>
                  <a:close/>
                  <a:moveTo>
                    <a:pt x="65" y="10"/>
                  </a:moveTo>
                  <a:lnTo>
                    <a:pt x="48" y="13"/>
                  </a:lnTo>
                  <a:lnTo>
                    <a:pt x="34" y="20"/>
                  </a:lnTo>
                  <a:lnTo>
                    <a:pt x="23" y="33"/>
                  </a:lnTo>
                  <a:lnTo>
                    <a:pt x="16" y="47"/>
                  </a:lnTo>
                  <a:lnTo>
                    <a:pt x="13" y="64"/>
                  </a:lnTo>
                  <a:lnTo>
                    <a:pt x="16" y="81"/>
                  </a:lnTo>
                  <a:lnTo>
                    <a:pt x="23" y="96"/>
                  </a:lnTo>
                  <a:lnTo>
                    <a:pt x="34" y="108"/>
                  </a:lnTo>
                  <a:lnTo>
                    <a:pt x="48" y="115"/>
                  </a:lnTo>
                  <a:lnTo>
                    <a:pt x="65" y="119"/>
                  </a:lnTo>
                  <a:lnTo>
                    <a:pt x="82" y="115"/>
                  </a:lnTo>
                  <a:lnTo>
                    <a:pt x="97" y="108"/>
                  </a:lnTo>
                  <a:lnTo>
                    <a:pt x="108" y="96"/>
                  </a:lnTo>
                  <a:lnTo>
                    <a:pt x="115" y="81"/>
                  </a:lnTo>
                  <a:lnTo>
                    <a:pt x="118" y="64"/>
                  </a:lnTo>
                  <a:lnTo>
                    <a:pt x="115" y="47"/>
                  </a:lnTo>
                  <a:lnTo>
                    <a:pt x="108" y="33"/>
                  </a:lnTo>
                  <a:lnTo>
                    <a:pt x="97" y="20"/>
                  </a:lnTo>
                  <a:lnTo>
                    <a:pt x="82" y="13"/>
                  </a:lnTo>
                  <a:lnTo>
                    <a:pt x="65" y="10"/>
                  </a:lnTo>
                  <a:close/>
                  <a:moveTo>
                    <a:pt x="65" y="0"/>
                  </a:moveTo>
                  <a:lnTo>
                    <a:pt x="85" y="3"/>
                  </a:lnTo>
                  <a:lnTo>
                    <a:pt x="104" y="12"/>
                  </a:lnTo>
                  <a:lnTo>
                    <a:pt x="118" y="25"/>
                  </a:lnTo>
                  <a:lnTo>
                    <a:pt x="128" y="44"/>
                  </a:lnTo>
                  <a:lnTo>
                    <a:pt x="130" y="64"/>
                  </a:lnTo>
                  <a:lnTo>
                    <a:pt x="128" y="85"/>
                  </a:lnTo>
                  <a:lnTo>
                    <a:pt x="118" y="103"/>
                  </a:lnTo>
                  <a:lnTo>
                    <a:pt x="104" y="116"/>
                  </a:lnTo>
                  <a:lnTo>
                    <a:pt x="85" y="126"/>
                  </a:lnTo>
                  <a:lnTo>
                    <a:pt x="65" y="129"/>
                  </a:lnTo>
                  <a:lnTo>
                    <a:pt x="46" y="126"/>
                  </a:lnTo>
                  <a:lnTo>
                    <a:pt x="27" y="116"/>
                  </a:lnTo>
                  <a:lnTo>
                    <a:pt x="13" y="103"/>
                  </a:lnTo>
                  <a:lnTo>
                    <a:pt x="3" y="85"/>
                  </a:lnTo>
                  <a:lnTo>
                    <a:pt x="0" y="64"/>
                  </a:lnTo>
                  <a:lnTo>
                    <a:pt x="3" y="44"/>
                  </a:lnTo>
                  <a:lnTo>
                    <a:pt x="13" y="25"/>
                  </a:lnTo>
                  <a:lnTo>
                    <a:pt x="27" y="12"/>
                  </a:lnTo>
                  <a:lnTo>
                    <a:pt x="46" y="3"/>
                  </a:lnTo>
                  <a:lnTo>
                    <a:pt x="6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7"/>
            <p:cNvSpPr>
              <a:spLocks noEditPoints="1"/>
            </p:cNvSpPr>
            <p:nvPr userDrawn="1"/>
          </p:nvSpPr>
          <p:spPr bwMode="auto">
            <a:xfrm>
              <a:off x="7494588" y="5375275"/>
              <a:ext cx="52388" cy="50800"/>
            </a:xfrm>
            <a:custGeom>
              <a:avLst/>
              <a:gdLst>
                <a:gd name="T0" fmla="*/ 52 w 131"/>
                <a:gd name="T1" fmla="*/ 60 h 129"/>
                <a:gd name="T2" fmla="*/ 70 w 131"/>
                <a:gd name="T3" fmla="*/ 60 h 129"/>
                <a:gd name="T4" fmla="*/ 76 w 131"/>
                <a:gd name="T5" fmla="*/ 59 h 129"/>
                <a:gd name="T6" fmla="*/ 81 w 131"/>
                <a:gd name="T7" fmla="*/ 55 h 129"/>
                <a:gd name="T8" fmla="*/ 84 w 131"/>
                <a:gd name="T9" fmla="*/ 48 h 129"/>
                <a:gd name="T10" fmla="*/ 81 w 131"/>
                <a:gd name="T11" fmla="*/ 42 h 129"/>
                <a:gd name="T12" fmla="*/ 77 w 131"/>
                <a:gd name="T13" fmla="*/ 38 h 129"/>
                <a:gd name="T14" fmla="*/ 71 w 131"/>
                <a:gd name="T15" fmla="*/ 37 h 129"/>
                <a:gd name="T16" fmla="*/ 52 w 131"/>
                <a:gd name="T17" fmla="*/ 37 h 129"/>
                <a:gd name="T18" fmla="*/ 69 w 131"/>
                <a:gd name="T19" fmla="*/ 28 h 129"/>
                <a:gd name="T20" fmla="*/ 89 w 131"/>
                <a:gd name="T21" fmla="*/ 33 h 129"/>
                <a:gd name="T22" fmla="*/ 95 w 131"/>
                <a:gd name="T23" fmla="*/ 49 h 129"/>
                <a:gd name="T24" fmla="*/ 90 w 131"/>
                <a:gd name="T25" fmla="*/ 63 h 129"/>
                <a:gd name="T26" fmla="*/ 76 w 131"/>
                <a:gd name="T27" fmla="*/ 69 h 129"/>
                <a:gd name="T28" fmla="*/ 85 w 131"/>
                <a:gd name="T29" fmla="*/ 101 h 129"/>
                <a:gd name="T30" fmla="*/ 52 w 131"/>
                <a:gd name="T31" fmla="*/ 69 h 129"/>
                <a:gd name="T32" fmla="*/ 41 w 131"/>
                <a:gd name="T33" fmla="*/ 101 h 129"/>
                <a:gd name="T34" fmla="*/ 66 w 131"/>
                <a:gd name="T35" fmla="*/ 10 h 129"/>
                <a:gd name="T36" fmla="*/ 34 w 131"/>
                <a:gd name="T37" fmla="*/ 20 h 129"/>
                <a:gd name="T38" fmla="*/ 15 w 131"/>
                <a:gd name="T39" fmla="*/ 47 h 129"/>
                <a:gd name="T40" fmla="*/ 15 w 131"/>
                <a:gd name="T41" fmla="*/ 81 h 129"/>
                <a:gd name="T42" fmla="*/ 34 w 131"/>
                <a:gd name="T43" fmla="*/ 108 h 129"/>
                <a:gd name="T44" fmla="*/ 66 w 131"/>
                <a:gd name="T45" fmla="*/ 119 h 129"/>
                <a:gd name="T46" fmla="*/ 96 w 131"/>
                <a:gd name="T47" fmla="*/ 108 h 129"/>
                <a:gd name="T48" fmla="*/ 115 w 131"/>
                <a:gd name="T49" fmla="*/ 81 h 129"/>
                <a:gd name="T50" fmla="*/ 115 w 131"/>
                <a:gd name="T51" fmla="*/ 47 h 129"/>
                <a:gd name="T52" fmla="*/ 96 w 131"/>
                <a:gd name="T53" fmla="*/ 20 h 129"/>
                <a:gd name="T54" fmla="*/ 66 w 131"/>
                <a:gd name="T55" fmla="*/ 10 h 129"/>
                <a:gd name="T56" fmla="*/ 86 w 131"/>
                <a:gd name="T57" fmla="*/ 3 h 129"/>
                <a:gd name="T58" fmla="*/ 118 w 131"/>
                <a:gd name="T59" fmla="*/ 25 h 129"/>
                <a:gd name="T60" fmla="*/ 131 w 131"/>
                <a:gd name="T61" fmla="*/ 64 h 129"/>
                <a:gd name="T62" fmla="*/ 118 w 131"/>
                <a:gd name="T63" fmla="*/ 103 h 129"/>
                <a:gd name="T64" fmla="*/ 86 w 131"/>
                <a:gd name="T65" fmla="*/ 126 h 129"/>
                <a:gd name="T66" fmla="*/ 45 w 131"/>
                <a:gd name="T67" fmla="*/ 126 h 129"/>
                <a:gd name="T68" fmla="*/ 13 w 131"/>
                <a:gd name="T69" fmla="*/ 103 h 129"/>
                <a:gd name="T70" fmla="*/ 0 w 131"/>
                <a:gd name="T71" fmla="*/ 64 h 129"/>
                <a:gd name="T72" fmla="*/ 13 w 131"/>
                <a:gd name="T73" fmla="*/ 25 h 129"/>
                <a:gd name="T74" fmla="*/ 45 w 131"/>
                <a:gd name="T75"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29">
                  <a:moveTo>
                    <a:pt x="52" y="37"/>
                  </a:moveTo>
                  <a:lnTo>
                    <a:pt x="52" y="60"/>
                  </a:lnTo>
                  <a:lnTo>
                    <a:pt x="65" y="60"/>
                  </a:lnTo>
                  <a:lnTo>
                    <a:pt x="70" y="60"/>
                  </a:lnTo>
                  <a:lnTo>
                    <a:pt x="74" y="59"/>
                  </a:lnTo>
                  <a:lnTo>
                    <a:pt x="76" y="59"/>
                  </a:lnTo>
                  <a:lnTo>
                    <a:pt x="80" y="58"/>
                  </a:lnTo>
                  <a:lnTo>
                    <a:pt x="81" y="55"/>
                  </a:lnTo>
                  <a:lnTo>
                    <a:pt x="82" y="51"/>
                  </a:lnTo>
                  <a:lnTo>
                    <a:pt x="84" y="48"/>
                  </a:lnTo>
                  <a:lnTo>
                    <a:pt x="82" y="44"/>
                  </a:lnTo>
                  <a:lnTo>
                    <a:pt x="81" y="42"/>
                  </a:lnTo>
                  <a:lnTo>
                    <a:pt x="80" y="39"/>
                  </a:lnTo>
                  <a:lnTo>
                    <a:pt x="77" y="38"/>
                  </a:lnTo>
                  <a:lnTo>
                    <a:pt x="74" y="38"/>
                  </a:lnTo>
                  <a:lnTo>
                    <a:pt x="71" y="37"/>
                  </a:lnTo>
                  <a:lnTo>
                    <a:pt x="67" y="37"/>
                  </a:lnTo>
                  <a:lnTo>
                    <a:pt x="52" y="37"/>
                  </a:lnTo>
                  <a:close/>
                  <a:moveTo>
                    <a:pt x="41" y="28"/>
                  </a:moveTo>
                  <a:lnTo>
                    <a:pt x="69" y="28"/>
                  </a:lnTo>
                  <a:lnTo>
                    <a:pt x="80" y="29"/>
                  </a:lnTo>
                  <a:lnTo>
                    <a:pt x="89" y="33"/>
                  </a:lnTo>
                  <a:lnTo>
                    <a:pt x="94" y="39"/>
                  </a:lnTo>
                  <a:lnTo>
                    <a:pt x="95" y="49"/>
                  </a:lnTo>
                  <a:lnTo>
                    <a:pt x="94" y="56"/>
                  </a:lnTo>
                  <a:lnTo>
                    <a:pt x="90" y="63"/>
                  </a:lnTo>
                  <a:lnTo>
                    <a:pt x="84" y="66"/>
                  </a:lnTo>
                  <a:lnTo>
                    <a:pt x="76" y="69"/>
                  </a:lnTo>
                  <a:lnTo>
                    <a:pt x="97" y="101"/>
                  </a:lnTo>
                  <a:lnTo>
                    <a:pt x="85" y="101"/>
                  </a:lnTo>
                  <a:lnTo>
                    <a:pt x="65" y="69"/>
                  </a:lnTo>
                  <a:lnTo>
                    <a:pt x="52" y="69"/>
                  </a:lnTo>
                  <a:lnTo>
                    <a:pt x="52" y="101"/>
                  </a:lnTo>
                  <a:lnTo>
                    <a:pt x="41" y="101"/>
                  </a:lnTo>
                  <a:lnTo>
                    <a:pt x="41" y="28"/>
                  </a:lnTo>
                  <a:close/>
                  <a:moveTo>
                    <a:pt x="66" y="10"/>
                  </a:moveTo>
                  <a:lnTo>
                    <a:pt x="49" y="13"/>
                  </a:lnTo>
                  <a:lnTo>
                    <a:pt x="34" y="20"/>
                  </a:lnTo>
                  <a:lnTo>
                    <a:pt x="23" y="33"/>
                  </a:lnTo>
                  <a:lnTo>
                    <a:pt x="15" y="47"/>
                  </a:lnTo>
                  <a:lnTo>
                    <a:pt x="13" y="64"/>
                  </a:lnTo>
                  <a:lnTo>
                    <a:pt x="15" y="81"/>
                  </a:lnTo>
                  <a:lnTo>
                    <a:pt x="23" y="96"/>
                  </a:lnTo>
                  <a:lnTo>
                    <a:pt x="34" y="108"/>
                  </a:lnTo>
                  <a:lnTo>
                    <a:pt x="49" y="115"/>
                  </a:lnTo>
                  <a:lnTo>
                    <a:pt x="66" y="119"/>
                  </a:lnTo>
                  <a:lnTo>
                    <a:pt x="82" y="115"/>
                  </a:lnTo>
                  <a:lnTo>
                    <a:pt x="96" y="108"/>
                  </a:lnTo>
                  <a:lnTo>
                    <a:pt x="107" y="96"/>
                  </a:lnTo>
                  <a:lnTo>
                    <a:pt x="115" y="81"/>
                  </a:lnTo>
                  <a:lnTo>
                    <a:pt x="117" y="64"/>
                  </a:lnTo>
                  <a:lnTo>
                    <a:pt x="115" y="47"/>
                  </a:lnTo>
                  <a:lnTo>
                    <a:pt x="107" y="33"/>
                  </a:lnTo>
                  <a:lnTo>
                    <a:pt x="96" y="20"/>
                  </a:lnTo>
                  <a:lnTo>
                    <a:pt x="82" y="13"/>
                  </a:lnTo>
                  <a:lnTo>
                    <a:pt x="66" y="10"/>
                  </a:lnTo>
                  <a:close/>
                  <a:moveTo>
                    <a:pt x="66" y="0"/>
                  </a:moveTo>
                  <a:lnTo>
                    <a:pt x="86" y="3"/>
                  </a:lnTo>
                  <a:lnTo>
                    <a:pt x="103" y="12"/>
                  </a:lnTo>
                  <a:lnTo>
                    <a:pt x="118" y="25"/>
                  </a:lnTo>
                  <a:lnTo>
                    <a:pt x="127" y="44"/>
                  </a:lnTo>
                  <a:lnTo>
                    <a:pt x="131" y="64"/>
                  </a:lnTo>
                  <a:lnTo>
                    <a:pt x="127" y="85"/>
                  </a:lnTo>
                  <a:lnTo>
                    <a:pt x="118" y="103"/>
                  </a:lnTo>
                  <a:lnTo>
                    <a:pt x="103" y="116"/>
                  </a:lnTo>
                  <a:lnTo>
                    <a:pt x="86" y="126"/>
                  </a:lnTo>
                  <a:lnTo>
                    <a:pt x="66" y="129"/>
                  </a:lnTo>
                  <a:lnTo>
                    <a:pt x="45" y="126"/>
                  </a:lnTo>
                  <a:lnTo>
                    <a:pt x="28" y="116"/>
                  </a:lnTo>
                  <a:lnTo>
                    <a:pt x="13" y="103"/>
                  </a:lnTo>
                  <a:lnTo>
                    <a:pt x="4" y="85"/>
                  </a:lnTo>
                  <a:lnTo>
                    <a:pt x="0" y="64"/>
                  </a:lnTo>
                  <a:lnTo>
                    <a:pt x="4" y="44"/>
                  </a:lnTo>
                  <a:lnTo>
                    <a:pt x="13" y="25"/>
                  </a:lnTo>
                  <a:lnTo>
                    <a:pt x="28" y="12"/>
                  </a:lnTo>
                  <a:lnTo>
                    <a:pt x="45" y="3"/>
                  </a:lnTo>
                  <a:lnTo>
                    <a:pt x="6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8"/>
            <p:cNvSpPr>
              <a:spLocks noChangeShapeType="1"/>
            </p:cNvSpPr>
            <p:nvPr userDrawn="1"/>
          </p:nvSpPr>
          <p:spPr bwMode="auto">
            <a:xfrm>
              <a:off x="7548563" y="5530850"/>
              <a:ext cx="1052513" cy="0"/>
            </a:xfrm>
            <a:prstGeom prst="line">
              <a:avLst/>
            </a:prstGeom>
            <a:noFill/>
            <a:ln w="635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58494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AS - Image Only - White">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6667272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AS - Blue 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AS - Black Background">
    <p:bg>
      <p:bgPr>
        <a:solidFill>
          <a:srgbClr val="000000"/>
        </a:solidFill>
        <a:effectLst/>
      </p:bgPr>
    </p:bg>
    <p:spTree>
      <p:nvGrpSpPr>
        <p:cNvPr id="1" name=""/>
        <p:cNvGrpSpPr/>
        <p:nvPr/>
      </p:nvGrpSpPr>
      <p:grpSpPr>
        <a:xfrm>
          <a:off x="0" y="0"/>
          <a:ext cx="0" cy="0"/>
          <a:chOff x="0" y="0"/>
          <a:chExt cx="0" cy="0"/>
        </a:xfrm>
      </p:grpSpPr>
      <p:sp>
        <p:nvSpPr>
          <p:cNvPr id="4" name="Slide Number Placeholder 1"/>
          <p:cNvSpPr>
            <a:spLocks noGrp="1"/>
          </p:cNvSpPr>
          <p:nvPr>
            <p:ph type="sldNum" sz="quarter" idx="11"/>
          </p:nvPr>
        </p:nvSpPr>
        <p:spPr/>
        <p:txBody>
          <a:bodyPr/>
          <a:lstStyle>
            <a:lvl1pPr>
              <a:defRPr>
                <a:solidFill>
                  <a:schemeClr val="bg1">
                    <a:lumMod val="65000"/>
                  </a:schemeClr>
                </a:solidFill>
              </a:defRPr>
            </a:lvl1pPr>
          </a:lstStyle>
          <a:p>
            <a:fld id="{4976208B-6111-490B-8CEC-FFB249DB2100}" type="slidenum">
              <a:rPr lang="en-US" smtClean="0"/>
              <a:pPr/>
              <a:t>‹#›</a:t>
            </a:fld>
            <a:endParaRPr lang="en-US" dirty="0"/>
          </a:p>
        </p:txBody>
      </p:sp>
      <p:sp>
        <p:nvSpPr>
          <p:cNvPr id="3" name="TextBox 2"/>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tx1">
                    <a:lumMod val="75000"/>
                    <a:lumOff val="25000"/>
                  </a:schemeClr>
                </a:solidFill>
                <a:effectLst/>
                <a:uLnTx/>
                <a:uFillTx/>
                <a:latin typeface="+mn-lt"/>
                <a:ea typeface="Calibri" charset="0"/>
                <a:cs typeface="Arial" panose="020B0604020202020204" pitchFamily="34" charset="0"/>
              </a:rPr>
              <a:t>Copyright © 2019 Scott Mongeau All rights reserved.</a:t>
            </a:r>
          </a:p>
        </p:txBody>
      </p:sp>
      <p:grpSp>
        <p:nvGrpSpPr>
          <p:cNvPr id="5" name="Group 4"/>
          <p:cNvGrpSpPr/>
          <p:nvPr userDrawn="1"/>
        </p:nvGrpSpPr>
        <p:grpSpPr>
          <a:xfrm>
            <a:off x="8427835" y="4765184"/>
            <a:ext cx="526892" cy="220528"/>
            <a:chOff x="6145213" y="4384676"/>
            <a:chExt cx="1582738" cy="649287"/>
          </a:xfrm>
          <a:solidFill>
            <a:schemeClr val="tx1">
              <a:lumMod val="65000"/>
              <a:lumOff val="35000"/>
            </a:schemeClr>
          </a:solidFill>
        </p:grpSpPr>
        <p:sp>
          <p:nvSpPr>
            <p:cNvPr id="6"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025376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0538" y="752475"/>
            <a:ext cx="4032250" cy="40005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5188" y="752475"/>
            <a:ext cx="4032250" cy="40005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35179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S -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6459"/>
            <a:ext cx="7891272" cy="3642853"/>
          </a:xfrm>
        </p:spPr>
        <p:txBody>
          <a:bodyPr wrap="square" anchor="t" anchorCtr="0">
            <a:normAutofit/>
          </a:bodyPr>
          <a:lstStyle>
            <a:lvl1pPr>
              <a:defRPr baseline="0">
                <a:solidFill>
                  <a:schemeClr val="tx2"/>
                </a:solidFill>
              </a:defRPr>
            </a:lvl1pPr>
            <a:lvl2pPr>
              <a:buClr>
                <a:schemeClr val="tx1">
                  <a:lumMod val="65000"/>
                  <a:lumOff val="35000"/>
                </a:schemeClr>
              </a:buClr>
              <a:defRPr baseline="0">
                <a:solidFill>
                  <a:schemeClr val="tx1">
                    <a:lumMod val="65000"/>
                    <a:lumOff val="35000"/>
                  </a:schemeClr>
                </a:solidFill>
              </a:defRPr>
            </a:lvl2pPr>
            <a:lvl3pPr>
              <a:buClr>
                <a:schemeClr val="tx1">
                  <a:lumMod val="65000"/>
                  <a:lumOff val="35000"/>
                </a:schemeClr>
              </a:buClr>
              <a:defRPr baseline="0">
                <a:solidFill>
                  <a:schemeClr val="tx1">
                    <a:lumMod val="65000"/>
                    <a:lumOff val="3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Slide Number Placeholder 3">
            <a:extLst>
              <a:ext uri="{FF2B5EF4-FFF2-40B4-BE49-F238E27FC236}">
                <a16:creationId xmlns:a16="http://schemas.microsoft.com/office/drawing/2014/main" xmlns="" id="{40E15436-E004-45B9-BA03-D88B1B565DA2}"/>
              </a:ext>
            </a:extLst>
          </p:cNvPr>
          <p:cNvSpPr txBox="1">
            <a:spLocks/>
          </p:cNvSpPr>
          <p:nvPr userDrawn="1"/>
        </p:nvSpPr>
        <p:spPr>
          <a:xfrm>
            <a:off x="4114800" y="4776500"/>
            <a:ext cx="914400" cy="230832"/>
          </a:xfrm>
          <a:prstGeom prst="rect">
            <a:avLst/>
          </a:prstGeom>
        </p:spPr>
        <p:txBody>
          <a:bodyPr vert="horz" lIns="91440" tIns="45720" rIns="91440" bIns="45720" rtlCol="0" anchor="b">
            <a:spAutoFit/>
          </a:bodyPr>
          <a:lstStyle>
            <a:defPPr>
              <a:defRPr lang="en-US"/>
            </a:defPPr>
            <a:lvl1pPr marL="0" algn="ctr" defTabSz="182880" rtl="0" eaLnBrk="1" latinLnBrk="0" hangingPunct="1">
              <a:defRPr sz="9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30826127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96000" y="842400"/>
            <a:ext cx="8352000" cy="3889144"/>
          </a:xfrm>
          <a:prstGeom prst="rect">
            <a:avLst/>
          </a:prstGeom>
        </p:spPr>
        <p:txBody>
          <a:bodyPr lIns="36000" tIns="36000" rIns="36000" bIns="36000">
            <a:noAutofit/>
          </a:bodyPr>
          <a:lstStyle>
            <a:lvl2pPr marL="202495" indent="-101248">
              <a:defRPr/>
            </a:lvl2pPr>
            <a:lvl3pPr marL="303743">
              <a:defRPr/>
            </a:lvl3pPr>
            <a:lvl4pPr marL="404990" indent="-101248">
              <a:defRPr/>
            </a:lvl4pPr>
            <a:lvl5pPr marL="506237" indent="-101795">
              <a:buFont typeface="Arial" pitchFamily="34" charset="0"/>
              <a:buChar char="•"/>
              <a:defRPr/>
            </a:lvl5pPr>
            <a:lvl6pPr marL="607485" indent="-101248">
              <a:buFont typeface="Arial" pitchFamily="34" charset="0"/>
              <a:buChar char="–"/>
              <a:defRPr sz="675"/>
            </a:lvl6pPr>
            <a:lvl7pPr marL="708732" indent="-100904">
              <a:defRPr sz="675"/>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9"/>
          <p:cNvSpPr>
            <a:spLocks noGrp="1"/>
          </p:cNvSpPr>
          <p:nvPr>
            <p:ph type="sldNum" sz="quarter" idx="4"/>
            <p:custDataLst>
              <p:tags r:id="rId1"/>
            </p:custDataLst>
          </p:nvPr>
        </p:nvSpPr>
        <p:spPr>
          <a:xfrm>
            <a:off x="415928" y="4916091"/>
            <a:ext cx="346075" cy="108000"/>
          </a:xfrm>
          <a:prstGeom prst="rect">
            <a:avLst/>
          </a:prstGeom>
        </p:spPr>
        <p:txBody>
          <a:bodyPr vert="horz" wrap="square" lIns="0" tIns="0" rIns="0" bIns="0" numCol="1" anchor="t" anchorCtr="0" compatLnSpc="1">
            <a:prstTxWarp prst="textNoShape">
              <a:avLst/>
            </a:prstTxWarp>
            <a:noAutofit/>
          </a:bodyPr>
          <a:lstStyle>
            <a:lvl1pPr>
              <a:lnSpc>
                <a:spcPts val="633"/>
              </a:lnSpc>
              <a:defRPr sz="506" b="1">
                <a:solidFill>
                  <a:schemeClr val="tx2"/>
                </a:solidFill>
                <a:latin typeface="Arial" pitchFamily="34" charset="0"/>
                <a:cs typeface="Arial" pitchFamily="34" charset="0"/>
              </a:defRPr>
            </a:lvl1pPr>
          </a:lstStyle>
          <a:p>
            <a:fld id="{BB3EB412-ADD0-4785-835D-74F14F7EE1C4}" type="slidenum">
              <a:rPr lang="en-US" smtClean="0"/>
              <a:pPr/>
              <a:t>‹#›</a:t>
            </a:fld>
            <a:endParaRPr lang="en-US" dirty="0"/>
          </a:p>
        </p:txBody>
      </p:sp>
      <p:sp>
        <p:nvSpPr>
          <p:cNvPr id="8" name="Footer Placeholder 10"/>
          <p:cNvSpPr>
            <a:spLocks noGrp="1"/>
          </p:cNvSpPr>
          <p:nvPr>
            <p:ph type="ftr" sz="quarter" idx="3"/>
            <p:custDataLst>
              <p:tags r:id="rId2"/>
            </p:custDataLst>
          </p:nvPr>
        </p:nvSpPr>
        <p:spPr>
          <a:xfrm>
            <a:off x="771526" y="4916091"/>
            <a:ext cx="65" cy="70853"/>
          </a:xfrm>
          <a:prstGeom prst="rect">
            <a:avLst/>
          </a:prstGeom>
        </p:spPr>
        <p:txBody>
          <a:bodyPr vert="horz" wrap="none" lIns="0" tIns="0" rIns="0" bIns="0" numCol="1" anchor="t" anchorCtr="0" compatLnSpc="1">
            <a:prstTxWarp prst="textNoShape">
              <a:avLst/>
            </a:prstTxWarp>
            <a:spAutoFit/>
          </a:bodyPr>
          <a:lstStyle>
            <a:lvl1pPr>
              <a:lnSpc>
                <a:spcPts val="633"/>
              </a:lnSpc>
              <a:defRPr sz="450">
                <a:solidFill>
                  <a:schemeClr val="tx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467000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274320"/>
            <a:ext cx="7891272" cy="342900"/>
          </a:xfrm>
        </p:spPr>
        <p:txBody>
          <a:bodyPr anchor="ctr" anchorCtr="0">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11" hasCustomPrompt="1"/>
          </p:nvPr>
        </p:nvSpPr>
        <p:spPr>
          <a:xfrm flipH="1">
            <a:off x="626364" y="617220"/>
            <a:ext cx="7891272" cy="240030"/>
          </a:xfrm>
        </p:spPr>
        <p:txBody>
          <a:bodyPr wrap="square" anchor="ctr" anchorCtr="0">
            <a:noAutofit/>
          </a:bodyPr>
          <a:lstStyle>
            <a:lvl1pPr marL="0" indent="0" algn="ctr">
              <a:lnSpc>
                <a:spcPct val="100000"/>
              </a:lnSpc>
              <a:spcBef>
                <a:spcPts val="0"/>
              </a:spcBef>
              <a:buFont typeface="Arial" pitchFamily="34" charset="0"/>
              <a:buNone/>
              <a:defRPr sz="1650" b="0" cap="none" baseline="0">
                <a:solidFill>
                  <a:schemeClr val="accent1"/>
                </a:solidFill>
                <a:latin typeface="+mj-lt"/>
              </a:defRPr>
            </a:lvl1pPr>
          </a:lstStyle>
          <a:p>
            <a:pPr lvl="0"/>
            <a:r>
              <a:rPr lang="en-US" dirty="0"/>
              <a:t>Click to edit subtitle</a:t>
            </a:r>
          </a:p>
        </p:txBody>
      </p:sp>
      <p:sp>
        <p:nvSpPr>
          <p:cNvPr id="3" name="Slide Number Placeholder 3"/>
          <p:cNvSpPr>
            <a:spLocks noGrp="1"/>
          </p:cNvSpPr>
          <p:nvPr>
            <p:ph type="sldNum" sz="quarter" idx="12"/>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257814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t" anchorCtr="0">
            <a:noAutofit/>
          </a:bodyPr>
          <a:lstStyle>
            <a:lvl1pPr algn="ctr">
              <a:lnSpc>
                <a:spcPct val="100000"/>
              </a:lnSpc>
              <a:defRPr>
                <a:solidFill>
                  <a:schemeClr val="tx2"/>
                </a:solidFill>
              </a:defRPr>
            </a:lvl1pPr>
          </a:lstStyle>
          <a:p>
            <a:r>
              <a:rPr lang="en-US" dirty="0"/>
              <a:t>Click to Edit Title</a:t>
            </a:r>
          </a:p>
        </p:txBody>
      </p:sp>
      <p:sp>
        <p:nvSpPr>
          <p:cNvPr id="11" name="Slide Number Placeholder 4"/>
          <p:cNvSpPr>
            <a:spLocks noGrp="1"/>
          </p:cNvSpPr>
          <p:nvPr>
            <p:ph type="sldNum" sz="quarter" idx="14"/>
          </p:nvPr>
        </p:nvSpPr>
        <p:spPr/>
        <p:txBody>
          <a:bodyPr/>
          <a:lstStyle/>
          <a:p>
            <a:fld id="{03DFDFAF-26C1-44E6-B307-33B04FE7FDF1}" type="slidenum">
              <a:rPr lang="en-US" smtClean="0"/>
              <a:t>‹#›</a:t>
            </a:fld>
            <a:endParaRPr lang="en-US"/>
          </a:p>
        </p:txBody>
      </p:sp>
      <p:sp>
        <p:nvSpPr>
          <p:cNvPr id="5" name="Text Placeholder 2"/>
          <p:cNvSpPr>
            <a:spLocks noGrp="1"/>
          </p:cNvSpPr>
          <p:nvPr>
            <p:ph idx="1"/>
          </p:nvPr>
        </p:nvSpPr>
        <p:spPr>
          <a:xfrm>
            <a:off x="626364" y="805297"/>
            <a:ext cx="7891272" cy="3639312"/>
          </a:xfrm>
          <a:prstGeom prst="rect">
            <a:avLst/>
          </a:prstGeom>
        </p:spPr>
        <p:txBody>
          <a:bodyPr vert="horz" lIns="0" tIns="0" rIns="0" bIns="0" rtlCol="0" anchor="t" anchorCtr="0">
            <a:noAutofit/>
          </a:bodyPr>
          <a:lstStyle/>
          <a:p>
            <a:pPr marL="0" marR="0" lvl="0" indent="0" algn="l" defTabSz="365760" rtl="0" eaLnBrk="1" fontAlgn="auto" latinLnBrk="0" hangingPunct="1">
              <a:lnSpc>
                <a:spcPct val="100000"/>
              </a:lnSpc>
              <a:spcBef>
                <a:spcPts val="600"/>
              </a:spcBef>
              <a:spcAft>
                <a:spcPts val="0"/>
              </a:spcAft>
              <a:buClr>
                <a:srgbClr val="0074BE"/>
              </a:buClr>
              <a:buSzPct val="80000"/>
              <a:buFontTx/>
              <a:buNone/>
              <a:tabLst/>
              <a:defRPr/>
            </a:pPr>
            <a:r>
              <a:rPr kumimoji="0" lang="en-US" sz="2000" b="0" i="0" u="none" strike="noStrike" kern="1200" cap="none" spc="0" normalizeH="0" baseline="0" noProof="0">
                <a:ln>
                  <a:noFill/>
                </a:ln>
                <a:solidFill>
                  <a:srgbClr val="04304B"/>
                </a:solidFill>
                <a:effectLst/>
                <a:uLnTx/>
                <a:uFillTx/>
                <a:latin typeface="+mn-lt"/>
                <a:ea typeface="+mn-ea"/>
                <a:cs typeface="+mn-cs"/>
              </a:rPr>
              <a:t>Click to edit Master text styles</a:t>
            </a:r>
          </a:p>
          <a:p>
            <a:pPr marL="0" marR="0" lvl="1" indent="0" algn="l" defTabSz="365760" rtl="0" eaLnBrk="1" fontAlgn="auto" latinLnBrk="0" hangingPunct="1">
              <a:lnSpc>
                <a:spcPct val="100000"/>
              </a:lnSpc>
              <a:spcBef>
                <a:spcPts val="600"/>
              </a:spcBef>
              <a:spcAft>
                <a:spcPts val="0"/>
              </a:spcAft>
              <a:buClr>
                <a:srgbClr val="0074BE"/>
              </a:buClr>
              <a:buSzPct val="80000"/>
              <a:buFontTx/>
              <a:buNone/>
              <a:tabLst/>
              <a:defRPr/>
            </a:pPr>
            <a:r>
              <a:rPr kumimoji="0" lang="en-US" sz="2000" b="0" i="0" u="none" strike="noStrike" kern="1200" cap="none" spc="0" normalizeH="0" baseline="0" noProof="0">
                <a:ln>
                  <a:noFill/>
                </a:ln>
                <a:solidFill>
                  <a:srgbClr val="04304B"/>
                </a:solidFill>
                <a:effectLst/>
                <a:uLnTx/>
                <a:uFillTx/>
                <a:latin typeface="+mn-lt"/>
                <a:ea typeface="+mn-ea"/>
                <a:cs typeface="+mn-cs"/>
              </a:rPr>
              <a:t>Second level</a:t>
            </a:r>
          </a:p>
          <a:p>
            <a:pPr marL="0" marR="0" lvl="2" indent="0" algn="l" defTabSz="365760" rtl="0" eaLnBrk="1" fontAlgn="auto" latinLnBrk="0" hangingPunct="1">
              <a:lnSpc>
                <a:spcPct val="100000"/>
              </a:lnSpc>
              <a:spcBef>
                <a:spcPts val="600"/>
              </a:spcBef>
              <a:spcAft>
                <a:spcPts val="0"/>
              </a:spcAft>
              <a:buClr>
                <a:srgbClr val="0074BE"/>
              </a:buClr>
              <a:buSzPct val="80000"/>
              <a:buFontTx/>
              <a:buNone/>
              <a:tabLst/>
              <a:defRPr/>
            </a:pPr>
            <a:r>
              <a:rPr kumimoji="0" lang="en-US" sz="2000" b="0" i="0" u="none" strike="noStrike" kern="1200" cap="none" spc="0" normalizeH="0" baseline="0" noProof="0">
                <a:ln>
                  <a:noFill/>
                </a:ln>
                <a:solidFill>
                  <a:srgbClr val="04304B"/>
                </a:solidFill>
                <a:effectLst/>
                <a:uLnTx/>
                <a:uFillTx/>
                <a:latin typeface="+mn-lt"/>
                <a:ea typeface="+mn-ea"/>
                <a:cs typeface="+mn-cs"/>
              </a:rPr>
              <a:t>Third level</a:t>
            </a:r>
          </a:p>
          <a:p>
            <a:pPr marL="0" marR="0" lvl="3" indent="0" algn="l" defTabSz="365760" rtl="0" eaLnBrk="1" fontAlgn="auto" latinLnBrk="0" hangingPunct="1">
              <a:lnSpc>
                <a:spcPct val="100000"/>
              </a:lnSpc>
              <a:spcBef>
                <a:spcPts val="600"/>
              </a:spcBef>
              <a:spcAft>
                <a:spcPts val="0"/>
              </a:spcAft>
              <a:buClr>
                <a:srgbClr val="0074BE"/>
              </a:buClr>
              <a:buSzPct val="80000"/>
              <a:buFontTx/>
              <a:buNone/>
              <a:tabLst/>
              <a:defRPr/>
            </a:pPr>
            <a:r>
              <a:rPr kumimoji="0" lang="en-US" sz="2000" b="0" i="0" u="none" strike="noStrike" kern="1200" cap="none" spc="0" normalizeH="0" baseline="0" noProof="0">
                <a:ln>
                  <a:noFill/>
                </a:ln>
                <a:solidFill>
                  <a:srgbClr val="04304B"/>
                </a:solidFill>
                <a:effectLst/>
                <a:uLnTx/>
                <a:uFillTx/>
                <a:latin typeface="+mn-lt"/>
                <a:ea typeface="+mn-ea"/>
                <a:cs typeface="+mn-cs"/>
              </a:rPr>
              <a:t>Fourth level</a:t>
            </a:r>
          </a:p>
          <a:p>
            <a:pPr marL="0" marR="0" lvl="4" indent="0" algn="l" defTabSz="365760" rtl="0" eaLnBrk="1" fontAlgn="auto" latinLnBrk="0" hangingPunct="1">
              <a:lnSpc>
                <a:spcPct val="100000"/>
              </a:lnSpc>
              <a:spcBef>
                <a:spcPts val="600"/>
              </a:spcBef>
              <a:spcAft>
                <a:spcPts val="0"/>
              </a:spcAft>
              <a:buClr>
                <a:srgbClr val="0074BE"/>
              </a:buClr>
              <a:buSzPct val="80000"/>
              <a:buFontTx/>
              <a:buNone/>
              <a:tabLst/>
              <a:defRPr/>
            </a:pPr>
            <a:r>
              <a:rPr kumimoji="0" lang="en-US" sz="2000" b="0" i="0" u="none" strike="noStrike" kern="1200" cap="none" spc="0" normalizeH="0" baseline="0" noProof="0">
                <a:ln>
                  <a:noFill/>
                </a:ln>
                <a:solidFill>
                  <a:srgbClr val="04304B"/>
                </a:solidFill>
                <a:effectLst/>
                <a:uLnTx/>
                <a:uFillTx/>
                <a:latin typeface="+mn-lt"/>
                <a:ea typeface="+mn-ea"/>
                <a:cs typeface="+mn-cs"/>
              </a:rPr>
              <a:t>Fifth level</a:t>
            </a:r>
            <a:endParaRPr lang="en-US" dirty="0"/>
          </a:p>
        </p:txBody>
      </p:sp>
    </p:spTree>
    <p:extLst>
      <p:ext uri="{BB962C8B-B14F-4D97-AF65-F5344CB8AC3E}">
        <p14:creationId xmlns:p14="http://schemas.microsoft.com/office/powerpoint/2010/main" val="209301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6459"/>
            <a:ext cx="7891272" cy="3642853"/>
          </a:xfrm>
        </p:spPr>
        <p:txBody>
          <a:bodyPr wrap="square" anchor="t" anchorCtr="0">
            <a:normAutofit/>
          </a:bodyPr>
          <a:lstStyle>
            <a:lvl1pPr>
              <a:defRPr baseline="0">
                <a:solidFill>
                  <a:schemeClr val="tx2"/>
                </a:solidFill>
              </a:defRPr>
            </a:lvl1pPr>
            <a:lvl2pPr>
              <a:buClr>
                <a:schemeClr val="tx1">
                  <a:lumMod val="65000"/>
                  <a:lumOff val="35000"/>
                </a:schemeClr>
              </a:buClr>
              <a:defRPr baseline="0">
                <a:solidFill>
                  <a:schemeClr val="tx1">
                    <a:lumMod val="65000"/>
                    <a:lumOff val="35000"/>
                  </a:schemeClr>
                </a:solidFill>
              </a:defRPr>
            </a:lvl2pPr>
            <a:lvl3pPr>
              <a:buClr>
                <a:schemeClr val="tx1">
                  <a:lumMod val="65000"/>
                  <a:lumOff val="35000"/>
                </a:schemeClr>
              </a:buClr>
              <a:defRPr baseline="0">
                <a:solidFill>
                  <a:schemeClr val="tx1">
                    <a:lumMod val="65000"/>
                    <a:lumOff val="3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1"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745817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8493925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AS - Content - Bl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bg1"/>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6459"/>
            <a:ext cx="7891272" cy="3642853"/>
          </a:xfrm>
        </p:spPr>
        <p:txBody>
          <a:bodyPr wrap="square" anchor="t" anchorCtr="0">
            <a:normAutofit/>
          </a:bodyPr>
          <a:lstStyle>
            <a:lvl1pPr>
              <a:buClr>
                <a:schemeClr val="accent2"/>
              </a:buClr>
              <a:defRPr baseline="0">
                <a:solidFill>
                  <a:schemeClr val="bg1"/>
                </a:solidFill>
              </a:defRPr>
            </a:lvl1pPr>
            <a:lvl2pPr>
              <a:buClr>
                <a:schemeClr val="bg1">
                  <a:lumMod val="75000"/>
                </a:schemeClr>
              </a:buClr>
              <a:defRPr baseline="0">
                <a:solidFill>
                  <a:schemeClr val="bg1">
                    <a:lumMod val="75000"/>
                  </a:schemeClr>
                </a:solidFill>
              </a:defRPr>
            </a:lvl2pPr>
            <a:lvl3pPr>
              <a:buClr>
                <a:schemeClr val="bg1">
                  <a:lumMod val="75000"/>
                </a:schemeClr>
              </a:buClr>
              <a:defRPr baseline="0">
                <a:solidFill>
                  <a:schemeClr val="bg1">
                    <a:lumMod val="7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1"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
        <p:nvSpPr>
          <p:cNvPr id="15"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AS - Title &amp; Subtitle - Blue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
        <p:nvSpPr>
          <p:cNvPr id="6"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bg1"/>
                </a:solidFill>
              </a:defRPr>
            </a:lvl1pPr>
          </a:lstStyle>
          <a:p>
            <a:r>
              <a:rPr lang="en-US" dirty="0"/>
              <a:t>Click to Edit Title</a:t>
            </a:r>
          </a:p>
        </p:txBody>
      </p:sp>
      <p:sp>
        <p:nvSpPr>
          <p:cNvPr id="7"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j-lt"/>
              </a:defRPr>
            </a:lvl1pPr>
          </a:lstStyle>
          <a:p>
            <a:pPr lvl="0"/>
            <a:r>
              <a:rPr lang="en-US" dirty="0"/>
              <a:t>Click to edit subtitle</a:t>
            </a:r>
          </a:p>
        </p:txBody>
      </p:sp>
      <p:sp>
        <p:nvSpPr>
          <p:cNvPr id="16"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AS - Title Only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
        <p:nvSpPr>
          <p:cNvPr id="6"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bg1"/>
                </a:solidFill>
              </a:defRPr>
            </a:lvl1pPr>
          </a:lstStyle>
          <a:p>
            <a:r>
              <a:rPr lang="en-US" dirty="0"/>
              <a:t>Click to Edit Title</a:t>
            </a:r>
          </a:p>
        </p:txBody>
      </p:sp>
      <p:sp>
        <p:nvSpPr>
          <p:cNvPr id="16"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AS - Comparison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bg1"/>
                </a:solidFill>
              </a:defRPr>
            </a:lvl1pPr>
          </a:lstStyle>
          <a:p>
            <a:r>
              <a:rPr lang="en-US" dirty="0"/>
              <a:t>Click to Edit Title</a:t>
            </a:r>
          </a:p>
        </p:txBody>
      </p:sp>
      <p:sp>
        <p:nvSpPr>
          <p:cNvPr id="5" name="Text Placeholder 2"/>
          <p:cNvSpPr>
            <a:spLocks noGrp="1"/>
          </p:cNvSpPr>
          <p:nvPr>
            <p:ph type="body" sz="quarter" idx="3" hasCustomPrompt="1"/>
          </p:nvPr>
        </p:nvSpPr>
        <p:spPr>
          <a:xfrm>
            <a:off x="627641"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buClr>
                <a:schemeClr val="accent2"/>
              </a:buClr>
              <a:defRPr sz="2000" baseline="0">
                <a:solidFill>
                  <a:schemeClr val="bg1"/>
                </a:solidFill>
                <a:latin typeface="+mn-lt"/>
              </a:defRPr>
            </a:lvl1pPr>
            <a:lvl2pPr>
              <a:buClr>
                <a:schemeClr val="bg1">
                  <a:lumMod val="75000"/>
                </a:schemeClr>
              </a:buClr>
              <a:defRPr sz="1800" baseline="0">
                <a:solidFill>
                  <a:schemeClr val="bg1">
                    <a:lumMod val="75000"/>
                  </a:schemeClr>
                </a:solidFill>
                <a:latin typeface="+mn-lt"/>
              </a:defRPr>
            </a:lvl2pPr>
            <a:lvl3pPr>
              <a:buClr>
                <a:schemeClr val="bg1">
                  <a:lumMod val="75000"/>
                </a:schemeClr>
              </a:buClr>
              <a:defRPr sz="1400" baseline="0">
                <a:solidFill>
                  <a:schemeClr val="bg1">
                    <a:lumMod val="75000"/>
                  </a:schemeClr>
                </a:solidFill>
                <a:latin typeface="+mn-lt"/>
              </a:defRPr>
            </a:lvl3pPr>
            <a:lvl4pPr>
              <a:defRPr sz="1200" baseline="0">
                <a:latin typeface="+mj-lt"/>
              </a:defRPr>
            </a:lvl4pPr>
            <a:lvl5pP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wrap="square">
            <a:normAutofit/>
          </a:bodyPr>
          <a:lstStyle>
            <a:lvl1pPr marL="182880" indent="-182880">
              <a:defRPr lang="en-US" sz="2000" b="0" kern="1200" cap="none" baseline="0" dirty="0" smtClean="0">
                <a:solidFill>
                  <a:schemeClr val="bg1"/>
                </a:solidFill>
                <a:latin typeface="+mn-lt"/>
                <a:ea typeface="+mn-ea"/>
                <a:cs typeface="+mn-cs"/>
              </a:defRPr>
            </a:lvl1pPr>
            <a:lvl2pPr marL="365760" indent="-182880">
              <a:defRPr lang="en-US" sz="1800" kern="1200" baseline="0" dirty="0" smtClean="0">
                <a:solidFill>
                  <a:schemeClr val="bg1">
                    <a:lumMod val="75000"/>
                  </a:schemeClr>
                </a:solidFill>
                <a:latin typeface="+mn-lt"/>
                <a:ea typeface="+mn-ea"/>
                <a:cs typeface="+mn-cs"/>
              </a:defRPr>
            </a:lvl2pPr>
            <a:lvl3pPr marL="548640" indent="-182880">
              <a:defRPr lang="en-US" sz="1400" kern="1200" baseline="0" dirty="0" smtClean="0">
                <a:solidFill>
                  <a:schemeClr val="bg1">
                    <a:lumMod val="75000"/>
                  </a:schemeClr>
                </a:solidFill>
                <a:latin typeface="+mn-lt"/>
                <a:ea typeface="+mn-ea"/>
                <a:cs typeface="+mn-cs"/>
              </a:defRPr>
            </a:lvl3pPr>
            <a:lvl4pPr>
              <a:defRPr baseline="0">
                <a:latin typeface="+mj-lt"/>
              </a:defRPr>
            </a:lvl4pPr>
            <a:lvl5pPr>
              <a:defRPr baseline="0">
                <a:latin typeface="+mj-lt"/>
              </a:defRPr>
            </a:lvl5pPr>
          </a:lstStyle>
          <a:p>
            <a:pPr marL="182880" lvl="0" indent="-182880" algn="l" defTabSz="365760" rtl="0" eaLnBrk="1" latinLnBrk="0" hangingPunct="1">
              <a:lnSpc>
                <a:spcPct val="85000"/>
              </a:lnSpc>
              <a:spcBef>
                <a:spcPts val="800"/>
              </a:spcBef>
              <a:spcAft>
                <a:spcPts val="0"/>
              </a:spcAft>
              <a:buClr>
                <a:schemeClr val="accent2"/>
              </a:buClr>
              <a:buSzPct val="80000"/>
              <a:buFont typeface="Arial" pitchFamily="34" charset="0"/>
              <a:buChar char="•"/>
            </a:pPr>
            <a:r>
              <a:rPr lang="en-US" dirty="0"/>
              <a:t>Click to add text or click an icon to add other content types.</a:t>
            </a:r>
          </a:p>
          <a:p>
            <a:pPr marL="365760" lvl="1" indent="-182880" algn="l" defTabSz="365760" rtl="0" eaLnBrk="1" latinLnBrk="0" hangingPunct="1">
              <a:lnSpc>
                <a:spcPct val="85000"/>
              </a:lnSpc>
              <a:spcBef>
                <a:spcPts val="800"/>
              </a:spcBef>
              <a:spcAft>
                <a:spcPts val="0"/>
              </a:spcAft>
              <a:buClr>
                <a:schemeClr val="bg1">
                  <a:lumMod val="75000"/>
                </a:schemeClr>
              </a:buClr>
              <a:buSzPct val="80000"/>
              <a:buFont typeface="Arial" pitchFamily="34" charset="0"/>
              <a:buChar char="•"/>
              <a:tabLst/>
            </a:pPr>
            <a:r>
              <a:rPr lang="en-US" dirty="0"/>
              <a:t>Second level</a:t>
            </a:r>
          </a:p>
          <a:p>
            <a:pPr marL="548640" lvl="2" indent="-182880" algn="l" defTabSz="365760" rtl="0" eaLnBrk="1" latinLnBrk="0" hangingPunct="1">
              <a:lnSpc>
                <a:spcPct val="85000"/>
              </a:lnSpc>
              <a:spcBef>
                <a:spcPts val="800"/>
              </a:spcBef>
              <a:spcAft>
                <a:spcPts val="0"/>
              </a:spcAft>
              <a:buClr>
                <a:schemeClr val="bg1">
                  <a:lumMod val="75000"/>
                </a:schemeClr>
              </a:buClr>
              <a:buSzPct val="100000"/>
              <a:buFont typeface="Calibri" panose="020F0502020204030204" pitchFamily="34" charset="0"/>
              <a:buChar char="-"/>
            </a:pPr>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
        <p:nvSpPr>
          <p:cNvPr id="16"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AS - Two Content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1014983"/>
            <a:ext cx="9144000" cy="36393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bg1"/>
                </a:solidFill>
              </a:defRPr>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buClr>
                <a:schemeClr val="bg1"/>
              </a:buClr>
              <a:buSzPct val="80000"/>
              <a:defRPr sz="2000" baseline="0">
                <a:solidFill>
                  <a:schemeClr val="bg1"/>
                </a:solidFill>
                <a:latin typeface="+mn-lt"/>
              </a:defRPr>
            </a:lvl1pPr>
            <a:lvl2pPr>
              <a:buClr>
                <a:schemeClr val="bg1"/>
              </a:buClr>
              <a:buSzPct val="80000"/>
              <a:defRPr sz="1800" baseline="0">
                <a:solidFill>
                  <a:schemeClr val="bg1"/>
                </a:solidFill>
                <a:latin typeface="+mn-lt"/>
              </a:defRPr>
            </a:lvl2pPr>
            <a:lvl3pPr>
              <a:buClr>
                <a:schemeClr val="bg1"/>
              </a:buClr>
              <a:buSzPct val="100000"/>
              <a:defRPr sz="1400" baseline="0">
                <a:solidFill>
                  <a:schemeClr val="bg1"/>
                </a:solidFill>
                <a:latin typeface="+mn-lt"/>
              </a:defRPr>
            </a:lvl3pPr>
            <a:lvl4pPr>
              <a:buClr>
                <a:schemeClr val="bg1"/>
              </a:buClr>
              <a:buSzPct val="100000"/>
              <a:defRPr sz="1200" baseline="0">
                <a:solidFill>
                  <a:schemeClr val="bg1"/>
                </a:solidFill>
                <a:latin typeface="+mj-lt"/>
              </a:defRPr>
            </a:lvl4pPr>
            <a:lvl5pPr marL="914400" indent="-182880">
              <a:buClr>
                <a:schemeClr val="bg1"/>
              </a:buClr>
              <a:buSzPct val="100000"/>
              <a:defRPr sz="1000" baseline="0">
                <a:solidFill>
                  <a:schemeClr val="bg1"/>
                </a:solidFill>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vert="horz" wrap="square" lIns="91440" tIns="45720" rIns="91440" bIns="45720" rtlCol="0" anchor="t" anchorCtr="0">
            <a:normAutofit/>
          </a:bodyPr>
          <a:lstStyle>
            <a:lvl1pPr>
              <a:buClr>
                <a:schemeClr val="bg1"/>
              </a:buClr>
              <a:defRPr lang="en-US" dirty="0" smtClean="0">
                <a:solidFill>
                  <a:schemeClr val="bg1"/>
                </a:solidFill>
              </a:defRPr>
            </a:lvl1pPr>
            <a:lvl2pPr marL="182880" indent="-182880" defTabSz="365760">
              <a:lnSpc>
                <a:spcPct val="85000"/>
              </a:lnSpc>
              <a:spcBef>
                <a:spcPts val="800"/>
              </a:spcBef>
              <a:buClr>
                <a:schemeClr val="bg1"/>
              </a:buClr>
              <a:buFont typeface="Arial" panose="020B0604020202020204" pitchFamily="34" charset="0"/>
              <a:buChar char="•"/>
              <a:defRPr lang="en-US" sz="2000" dirty="0" smtClean="0">
                <a:solidFill>
                  <a:schemeClr val="bg1"/>
                </a:solidFill>
                <a:latin typeface="+mn-lt"/>
              </a:defRPr>
            </a:lvl2pPr>
            <a:lvl3pPr marL="365760" indent="-182880" defTabSz="365760">
              <a:lnSpc>
                <a:spcPct val="85000"/>
              </a:lnSpc>
              <a:spcBef>
                <a:spcPts val="800"/>
              </a:spcBef>
              <a:buClr>
                <a:schemeClr val="bg1"/>
              </a:buClr>
              <a:buSzPct val="80000"/>
              <a:buFont typeface="Arial" panose="020B0604020202020204" pitchFamily="34" charset="0"/>
              <a:buChar char="•"/>
              <a:defRPr lang="en-US" sz="1800" dirty="0" smtClean="0">
                <a:solidFill>
                  <a:schemeClr val="bg1"/>
                </a:solidFill>
                <a:latin typeface="+mn-lt"/>
              </a:defRPr>
            </a:lvl3pPr>
            <a:lvl4pPr marL="548640" defTabSz="365760">
              <a:lnSpc>
                <a:spcPct val="85000"/>
              </a:lnSpc>
              <a:spcBef>
                <a:spcPts val="800"/>
              </a:spcBef>
              <a:buClr>
                <a:schemeClr val="bg1"/>
              </a:buClr>
              <a:defRPr lang="en-US" sz="1400" dirty="0" smtClean="0">
                <a:solidFill>
                  <a:schemeClr val="bg1"/>
                </a:solidFill>
                <a:latin typeface="+mn-lt"/>
              </a:defRPr>
            </a:lvl4pPr>
            <a:lvl5pPr marL="731520" indent="-182880" defTabSz="365760">
              <a:buClr>
                <a:schemeClr val="bg1"/>
              </a:buClr>
              <a:defRPr lang="en-US" sz="1200" dirty="0">
                <a:solidFill>
                  <a:schemeClr val="bg1"/>
                </a:solidFill>
                <a:latin typeface="+mj-lt"/>
              </a:defRPr>
            </a:lvl5pPr>
            <a:lvl6pPr marL="914400" indent="-182880" defTabSz="365760">
              <a:buClr>
                <a:schemeClr val="bg1"/>
              </a:buClr>
              <a:buSzPct val="100000"/>
              <a:buFont typeface="Calibri" panose="020F0502020204030204" pitchFamily="34" charset="0"/>
              <a:buChar char="-"/>
              <a:defRPr>
                <a:solidFill>
                  <a:schemeClr val="bg1"/>
                </a:solidFill>
                <a:latin typeface="+mj-lt"/>
              </a:defRPr>
            </a:lvl6pPr>
          </a:lstStyle>
          <a:p>
            <a:pPr lvl="1"/>
            <a:r>
              <a:rPr lang="en-US" dirty="0"/>
              <a:t>Click to add text or click an icon to add other content types.</a:t>
            </a:r>
          </a:p>
          <a:p>
            <a:pPr lvl="2"/>
            <a:r>
              <a:rPr lang="en-US" dirty="0"/>
              <a:t>Second level</a:t>
            </a:r>
          </a:p>
          <a:p>
            <a:pPr lvl="3"/>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
        <p:nvSpPr>
          <p:cNvPr id="9"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91832423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AS - Content with Caption - Blue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3" name="Rectangle 2"/>
          <p:cNvSpPr/>
          <p:nvPr userDrawn="1"/>
        </p:nvSpPr>
        <p:spPr>
          <a:xfrm>
            <a:off x="0" y="12357"/>
            <a:ext cx="3127248"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228887"/>
            <a:ext cx="3127248" cy="369332"/>
          </a:xfrm>
        </p:spPr>
        <p:txBody>
          <a:bodyPr lIns="91440" rIns="91440" anchor="t" anchorCtr="0">
            <a:spAutoFit/>
          </a:bodyPr>
          <a:lstStyle>
            <a:lvl1pPr algn="ctr" defTabSz="182880">
              <a:spcBef>
                <a:spcPts val="0"/>
              </a:spcBef>
              <a:defRPr sz="1800" baseline="0">
                <a:solidFill>
                  <a:schemeClr val="accent1">
                    <a:lumMod val="40000"/>
                    <a:lumOff val="60000"/>
                  </a:schemeClr>
                </a:solidFill>
                <a:effectLst/>
                <a:latin typeface="+mj-lt"/>
              </a:defRPr>
            </a:lvl1pPr>
          </a:lstStyle>
          <a:p>
            <a:r>
              <a:rPr lang="en-US" dirty="0"/>
              <a:t>Click to Edit Title</a:t>
            </a:r>
          </a:p>
        </p:txBody>
      </p:sp>
      <p:sp>
        <p:nvSpPr>
          <p:cNvPr id="12" name="Text Placeholder 4"/>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lumMod val="75000"/>
                  </a:schemeClr>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sp>
        <p:nvSpPr>
          <p:cNvPr id="18" name="Title 1"/>
          <p:cNvSpPr txBox="1">
            <a:spLocks/>
          </p:cNvSpPr>
          <p:nvPr userDrawn="1"/>
        </p:nvSpPr>
        <p:spPr>
          <a:xfrm>
            <a:off x="3127248" y="192024"/>
            <a:ext cx="6016752" cy="430887"/>
          </a:xfrm>
          <a:prstGeom prst="rect">
            <a:avLst/>
          </a:prstGeom>
        </p:spPr>
        <p:txBody>
          <a:bodyPr vert="horz" wrap="square" lIns="182880" tIns="45720" rIns="182880" bIns="45720" rtlCol="0" anchor="b" anchorCtr="0">
            <a:noAutofit/>
          </a:bodyPr>
          <a:lstStyle>
            <a:lvl1pPr algn="ctr" defTabSz="182880" rtl="0" eaLnBrk="1" latinLnBrk="0" hangingPunct="1">
              <a:spcBef>
                <a:spcPct val="0"/>
              </a:spcBef>
              <a:buNone/>
              <a:defRPr lang="en-US" sz="2200" kern="1200" cap="none" baseline="0">
                <a:solidFill>
                  <a:schemeClr val="bg1"/>
                </a:solidFill>
                <a:latin typeface="+mj-lt"/>
                <a:ea typeface="+mj-ea"/>
                <a:cs typeface="+mj-cs"/>
              </a:defRPr>
            </a:lvl1pPr>
          </a:lstStyle>
          <a:p>
            <a:r>
              <a:rPr lang="en-US"/>
              <a:t>Click to Edit Title</a:t>
            </a:r>
            <a:endParaRPr lang="en-US" dirty="0"/>
          </a:p>
        </p:txBody>
      </p:sp>
      <p:sp>
        <p:nvSpPr>
          <p:cNvPr id="19" name="Text Placeholder 2"/>
          <p:cNvSpPr>
            <a:spLocks noGrp="1"/>
          </p:cNvSpPr>
          <p:nvPr>
            <p:ph type="body" sz="quarter" idx="11" hasCustomPrompt="1"/>
          </p:nvPr>
        </p:nvSpPr>
        <p:spPr>
          <a:xfrm>
            <a:off x="3127248"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40000"/>
                    <a:lumOff val="60000"/>
                  </a:schemeClr>
                </a:solidFill>
                <a:effectLst/>
                <a:latin typeface="+mj-lt"/>
              </a:defRPr>
            </a:lvl1pPr>
          </a:lstStyle>
          <a:p>
            <a:pPr lvl="0"/>
            <a:r>
              <a:rPr lang="en-US" dirty="0"/>
              <a:t>Click to edit subtitle</a:t>
            </a:r>
          </a:p>
        </p:txBody>
      </p:sp>
      <p:sp>
        <p:nvSpPr>
          <p:cNvPr id="20" name="Content Placeholder 3"/>
          <p:cNvSpPr>
            <a:spLocks noGrp="1"/>
          </p:cNvSpPr>
          <p:nvPr>
            <p:ph sz="quarter" idx="15" hasCustomPrompt="1"/>
          </p:nvPr>
        </p:nvSpPr>
        <p:spPr>
          <a:xfrm>
            <a:off x="3088122" y="895176"/>
            <a:ext cx="6016752" cy="4215653"/>
          </a:xfrm>
        </p:spPr>
        <p:txBody>
          <a:bodyPr wrap="square" lIns="365760" rIns="274320" bIns="91440" anchor="t" anchorCtr="0">
            <a:normAutofit/>
          </a:bodyPr>
          <a:lstStyle>
            <a:lvl1pPr>
              <a:buClr>
                <a:schemeClr val="accent2"/>
              </a:buClr>
              <a:defRPr sz="2000" baseline="0">
                <a:solidFill>
                  <a:schemeClr val="bg1"/>
                </a:solidFill>
              </a:defRPr>
            </a:lvl1pPr>
            <a:lvl2pPr>
              <a:buClr>
                <a:schemeClr val="bg1">
                  <a:lumMod val="75000"/>
                </a:schemeClr>
              </a:buClr>
              <a:defRPr baseline="0">
                <a:solidFill>
                  <a:schemeClr val="bg1">
                    <a:lumMod val="75000"/>
                  </a:schemeClr>
                </a:solidFill>
              </a:defRPr>
            </a:lvl2pPr>
            <a:lvl3pPr>
              <a:buClr>
                <a:schemeClr val="bg1">
                  <a:lumMod val="75000"/>
                </a:schemeClr>
              </a:buClr>
              <a:defRPr baseline="0">
                <a:solidFill>
                  <a:schemeClr val="bg1">
                    <a:lumMod val="75000"/>
                  </a:schemeClr>
                </a:solidFill>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21"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AS - Case Study Only - Blue 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16" name="Rectangle 15"/>
          <p:cNvSpPr/>
          <p:nvPr userDrawn="1"/>
        </p:nvSpPr>
        <p:spPr>
          <a:xfrm>
            <a:off x="6515100" y="0"/>
            <a:ext cx="26289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192024"/>
            <a:ext cx="6016752" cy="430887"/>
          </a:xfrm>
        </p:spPr>
        <p:txBody>
          <a:bodyPr lIns="182880" rIns="182880" anchor="b" anchorCtr="0">
            <a:noAutofit/>
          </a:bodyPr>
          <a:lstStyle>
            <a:lvl1pPr algn="ctr">
              <a:defRPr sz="2200" baseline="0">
                <a:solidFill>
                  <a:schemeClr val="bg1"/>
                </a:solidFill>
              </a:defRPr>
            </a:lvl1pPr>
          </a:lstStyle>
          <a:p>
            <a:r>
              <a:rPr lang="en-US" dirty="0"/>
              <a:t>Click to Edit Title</a:t>
            </a:r>
          </a:p>
        </p:txBody>
      </p:sp>
      <p:sp>
        <p:nvSpPr>
          <p:cNvPr id="21" name="Text Placeholder 2"/>
          <p:cNvSpPr>
            <a:spLocks noGrp="1"/>
          </p:cNvSpPr>
          <p:nvPr>
            <p:ph type="body" sz="quarter" idx="11" hasCustomPrompt="1"/>
          </p:nvPr>
        </p:nvSpPr>
        <p:spPr>
          <a:xfrm>
            <a:off x="0"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40000"/>
                    <a:lumOff val="60000"/>
                  </a:schemeClr>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0337"/>
            <a:ext cx="6016752" cy="4215653"/>
          </a:xfrm>
        </p:spPr>
        <p:txBody>
          <a:bodyPr wrap="square" lIns="365760" rIns="274320" bIns="91440" anchor="t" anchorCtr="0">
            <a:normAutofit/>
          </a:bodyPr>
          <a:lstStyle>
            <a:lvl1pPr>
              <a:buClr>
                <a:schemeClr val="accent2"/>
              </a:buClr>
              <a:defRPr sz="2000" baseline="0">
                <a:solidFill>
                  <a:schemeClr val="bg1"/>
                </a:solidFill>
              </a:defRPr>
            </a:lvl1pPr>
            <a:lvl2pPr>
              <a:buClr>
                <a:schemeClr val="bg1">
                  <a:lumMod val="75000"/>
                </a:schemeClr>
              </a:buClr>
              <a:defRPr baseline="0">
                <a:solidFill>
                  <a:schemeClr val="bg1">
                    <a:lumMod val="75000"/>
                  </a:schemeClr>
                </a:solidFill>
              </a:defRPr>
            </a:lvl2pPr>
            <a:lvl3pPr>
              <a:buClr>
                <a:schemeClr val="bg1">
                  <a:lumMod val="75000"/>
                </a:schemeClr>
              </a:buClr>
              <a:defRPr baseline="0">
                <a:solidFill>
                  <a:schemeClr val="bg1">
                    <a:lumMod val="75000"/>
                  </a:schemeClr>
                </a:solidFill>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6" name="Slide Number Placeholder 6"/>
          <p:cNvSpPr>
            <a:spLocks noGrp="1"/>
          </p:cNvSpPr>
          <p:nvPr>
            <p:ph type="sldNum" sz="quarter" idx="17"/>
          </p:nvPr>
        </p:nvSpPr>
        <p:spPr/>
        <p:txBody>
          <a:bodyPr/>
          <a:lstStyle/>
          <a:p>
            <a:fld id="{4976208B-6111-490B-8CEC-FFB249DB2100}" type="slidenum">
              <a:rPr lang="en-US" smtClean="0"/>
              <a:pPr/>
              <a:t>‹#›</a:t>
            </a:fld>
            <a:endParaRPr lang="en-US" dirty="0"/>
          </a:p>
        </p:txBody>
      </p:sp>
      <p:sp>
        <p:nvSpPr>
          <p:cNvPr id="17"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
        <p:nvSpPr>
          <p:cNvPr id="29" name="Text Placeholder 2"/>
          <p:cNvSpPr>
            <a:spLocks noGrp="1"/>
          </p:cNvSpPr>
          <p:nvPr>
            <p:ph type="body" sz="quarter" idx="18" hasCustomPrompt="1"/>
          </p:nvPr>
        </p:nvSpPr>
        <p:spPr>
          <a:xfrm>
            <a:off x="6510270" y="226814"/>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accent1">
                    <a:lumMod val="40000"/>
                    <a:lumOff val="60000"/>
                  </a:schemeClr>
                </a:solidFill>
                <a:effectLst/>
                <a:latin typeface="+mj-lt"/>
              </a:defRPr>
            </a:lvl1pPr>
          </a:lstStyle>
          <a:p>
            <a:pPr lvl="0"/>
            <a:r>
              <a:rPr lang="en-US" dirty="0"/>
              <a:t>Click to Edit Industry</a:t>
            </a:r>
          </a:p>
        </p:txBody>
      </p:sp>
      <p:sp>
        <p:nvSpPr>
          <p:cNvPr id="30" name="Text Placeholder 4"/>
          <p:cNvSpPr>
            <a:spLocks noGrp="1"/>
          </p:cNvSpPr>
          <p:nvPr>
            <p:ph type="body" sz="quarter" idx="14" hasCustomPrompt="1"/>
          </p:nvPr>
        </p:nvSpPr>
        <p:spPr>
          <a:xfrm>
            <a:off x="6602878" y="776288"/>
            <a:ext cx="2448000" cy="2867308"/>
          </a:xfrm>
        </p:spPr>
        <p:txBody>
          <a:bodyPr wrap="square" anchor="t">
            <a:normAutofit/>
          </a:bodyPr>
          <a:lstStyle>
            <a:lvl1pPr marL="0" indent="-182880">
              <a:lnSpc>
                <a:spcPct val="85000"/>
              </a:lnSpc>
              <a:buFont typeface="Arial" pitchFamily="34" charset="0"/>
              <a:buNone/>
              <a:defRPr sz="1600" b="0" cap="none" baseline="0">
                <a:solidFill>
                  <a:schemeClr val="bg1">
                    <a:lumMod val="75000"/>
                  </a:schemeClr>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31" name="Text Placeholder 5"/>
          <p:cNvSpPr>
            <a:spLocks noGrp="1"/>
          </p:cNvSpPr>
          <p:nvPr>
            <p:ph type="body" sz="quarter" idx="16" hasCustomPrompt="1"/>
          </p:nvPr>
        </p:nvSpPr>
        <p:spPr>
          <a:xfrm>
            <a:off x="6598393" y="3649609"/>
            <a:ext cx="2450592" cy="286232"/>
          </a:xfrm>
        </p:spPr>
        <p:txBody>
          <a:bodyPr anchor="b" anchorCtr="0">
            <a:norm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32" name="Text Placeholder 6"/>
          <p:cNvSpPr>
            <a:spLocks noGrp="1"/>
          </p:cNvSpPr>
          <p:nvPr>
            <p:ph type="body" sz="quarter" idx="19" hasCustomPrompt="1"/>
          </p:nvPr>
        </p:nvSpPr>
        <p:spPr>
          <a:xfrm>
            <a:off x="6598393" y="3941853"/>
            <a:ext cx="2450592" cy="501885"/>
          </a:xfrm>
        </p:spPr>
        <p:txBody>
          <a:bodyPr wrap="square" anchor="t">
            <a:norm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33" name="Text Placeholder 7"/>
          <p:cNvSpPr>
            <a:spLocks noGrp="1"/>
          </p:cNvSpPr>
          <p:nvPr>
            <p:ph type="body" sz="quarter" idx="20" hasCustomPrompt="1"/>
          </p:nvPr>
        </p:nvSpPr>
        <p:spPr>
          <a:xfrm>
            <a:off x="6507280" y="4735984"/>
            <a:ext cx="1484986" cy="292100"/>
          </a:xfrm>
        </p:spPr>
        <p:txBody>
          <a:bodyPr anchor="ctr" anchorCtr="0">
            <a:noAutofit/>
          </a:bodyPr>
          <a:lstStyle>
            <a:lvl1pPr marL="0" indent="0">
              <a:buNone/>
              <a:defRPr sz="1200" baseline="0">
                <a:solidFill>
                  <a:schemeClr val="bg1"/>
                </a:solidFill>
                <a:latin typeface="+mn-lt"/>
              </a:defRPr>
            </a:lvl1pPr>
          </a:lstStyle>
          <a:p>
            <a:pPr lvl="0"/>
            <a:r>
              <a:rPr lang="en-US" dirty="0"/>
              <a:t>Partner Name</a:t>
            </a:r>
          </a:p>
        </p:txBody>
      </p:sp>
    </p:spTree>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AS - Main Customer Success Layout Blue 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19" name="Rectangle 18"/>
          <p:cNvSpPr/>
          <p:nvPr userDrawn="1"/>
        </p:nvSpPr>
        <p:spPr>
          <a:xfrm>
            <a:off x="6510268" y="0"/>
            <a:ext cx="2633732"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192024"/>
            <a:ext cx="6510269" cy="429768"/>
          </a:xfrm>
        </p:spPr>
        <p:txBody>
          <a:bodyPr lIns="182880" rIns="182880"/>
          <a:lstStyle>
            <a:lvl1pPr algn="ctr">
              <a:defRPr sz="2200" baseline="0">
                <a:solidFill>
                  <a:schemeClr val="bg1"/>
                </a:solidFill>
                <a:latin typeface="+mj-lt"/>
              </a:defRPr>
            </a:lvl1pPr>
          </a:lstStyle>
          <a:p>
            <a:r>
              <a:rPr lang="en-US" dirty="0"/>
              <a:t>Click to Edit Title</a:t>
            </a:r>
          </a:p>
        </p:txBody>
      </p:sp>
      <p:sp>
        <p:nvSpPr>
          <p:cNvPr id="21" name="Text Placeholder 2"/>
          <p:cNvSpPr>
            <a:spLocks noGrp="1"/>
          </p:cNvSpPr>
          <p:nvPr>
            <p:ph type="body" sz="quarter" idx="11" hasCustomPrompt="1"/>
          </p:nvPr>
        </p:nvSpPr>
        <p:spPr>
          <a:xfrm>
            <a:off x="6510270" y="226814"/>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accent1">
                    <a:lumMod val="40000"/>
                    <a:lumOff val="60000"/>
                  </a:schemeClr>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345"/>
            <a:ext cx="6510270" cy="3977640"/>
          </a:xfrm>
        </p:spPr>
        <p:txBody>
          <a:bodyPr wrap="square" lIns="365760" rIns="274320" anchor="t">
            <a:normAutofit/>
          </a:bodyPr>
          <a:lstStyle>
            <a:lvl1pPr>
              <a:buClr>
                <a:schemeClr val="accent2"/>
              </a:buClr>
              <a:defRPr sz="2000" baseline="0">
                <a:solidFill>
                  <a:schemeClr val="bg1"/>
                </a:solidFill>
                <a:latin typeface="+mn-lt"/>
              </a:defRPr>
            </a:lvl1pPr>
            <a:lvl2pPr>
              <a:buClr>
                <a:schemeClr val="bg1">
                  <a:lumMod val="75000"/>
                </a:schemeClr>
              </a:buClr>
              <a:defRPr baseline="0">
                <a:solidFill>
                  <a:schemeClr val="bg1">
                    <a:lumMod val="75000"/>
                  </a:schemeClr>
                </a:solidFill>
                <a:latin typeface="+mn-lt"/>
              </a:defRPr>
            </a:lvl2pPr>
            <a:lvl3pPr>
              <a:buClr>
                <a:schemeClr val="bg1">
                  <a:lumMod val="75000"/>
                </a:schemeClr>
              </a:buClr>
              <a:defRPr baseline="0">
                <a:solidFill>
                  <a:schemeClr val="bg1">
                    <a:lumMod val="75000"/>
                  </a:schemeClr>
                </a:solidFill>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776288"/>
            <a:ext cx="2448000" cy="1869230"/>
          </a:xfrm>
        </p:spPr>
        <p:txBody>
          <a:bodyPr wrap="square" anchor="t">
            <a:spAutoFit/>
          </a:bodyPr>
          <a:lstStyle>
            <a:lvl1pPr marL="0" indent="-182880">
              <a:lnSpc>
                <a:spcPct val="85000"/>
              </a:lnSpc>
              <a:buFont typeface="Arial" pitchFamily="34" charset="0"/>
              <a:buNone/>
              <a:defRPr sz="1600" b="0" cap="none" baseline="0">
                <a:solidFill>
                  <a:schemeClr val="bg1">
                    <a:lumMod val="75000"/>
                  </a:schemeClr>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spAutoFit/>
          </a:bodyPr>
          <a:lstStyle>
            <a:lvl1pPr marL="0" indent="0" algn="l">
              <a:lnSpc>
                <a:spcPct val="85000"/>
              </a:lnSpc>
              <a:buNone/>
              <a:defRPr sz="1400" b="0">
                <a:solidFill>
                  <a:schemeClr val="bg1">
                    <a:lumMod val="75000"/>
                  </a:schemeClr>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4"/>
            <a:ext cx="2450592" cy="258532"/>
          </a:xfrm>
        </p:spPr>
        <p:txBody>
          <a:bodyPr wrap="square" anchor="t">
            <a:spAutoFit/>
          </a:bodyPr>
          <a:lstStyle>
            <a:lvl1pPr marL="182880" indent="0" algn="l">
              <a:lnSpc>
                <a:spcPct val="85000"/>
              </a:lnSpc>
              <a:buNone/>
              <a:defRPr sz="1200">
                <a:solidFill>
                  <a:schemeClr val="bg1">
                    <a:lumMod val="75000"/>
                  </a:schemeClr>
                </a:solidFill>
                <a:effectLst/>
              </a:defRPr>
            </a:lvl1pPr>
          </a:lstStyle>
          <a:p>
            <a:pPr lvl="0"/>
            <a:r>
              <a:rPr lang="en-US" dirty="0"/>
              <a:t>Spokesperson’s Job Title</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sp>
        <p:nvSpPr>
          <p:cNvPr id="20"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sp>
        <p:nvSpPr>
          <p:cNvPr id="22" name="TextBox 21"/>
          <p:cNvSpPr txBox="1"/>
          <p:nvPr userDrawn="1"/>
        </p:nvSpPr>
        <p:spPr>
          <a:xfrm>
            <a:off x="3440649" y="4714956"/>
            <a:ext cx="2276795" cy="230832"/>
          </a:xfrm>
          <a:prstGeom prst="rect">
            <a:avLst/>
          </a:prstGeom>
          <a:noFill/>
        </p:spPr>
        <p:txBody>
          <a:bodyPr wrap="square" lIns="45720" r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accent1">
                    <a:lumMod val="60000"/>
                    <a:lumOff val="40000"/>
                  </a:schemeClr>
                </a:solidFill>
              </a:rPr>
              <a:t>For One-to-One Customer Use Only</a:t>
            </a:r>
          </a:p>
        </p:txBody>
      </p:sp>
    </p:spTree>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AS - Section Header - Dark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2998"/>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2019 Scott Mongeau All rights reserv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spTree>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ya - Title &amp;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defRPr baseline="0">
                <a:solidFill>
                  <a:schemeClr val="tx2"/>
                </a:solidFill>
                <a:latin typeface="+mn-lt"/>
              </a:defRPr>
            </a:lvl1pPr>
            <a:lvl2pPr>
              <a:defRPr baseline="0">
                <a:latin typeface="+mn-lt"/>
              </a:defRPr>
            </a:lvl2pPr>
            <a:lvl3pPr>
              <a:defRPr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32596388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ya - Title, Subtitle &amp;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1458049" y="640080"/>
            <a:ext cx="7068312" cy="274320"/>
          </a:xfrm>
        </p:spPr>
        <p:txBody>
          <a:bodyPr wrap="square" anchor="ctr">
            <a:noAutofit/>
          </a:bodyPr>
          <a:lstStyle>
            <a:lvl1pPr marL="0" indent="0" algn="l">
              <a:lnSpc>
                <a:spcPct val="100000"/>
              </a:lnSpc>
              <a:spcBef>
                <a:spcPts val="0"/>
              </a:spcBef>
              <a:buFont typeface="Arial" pitchFamily="34" charset="0"/>
              <a:buNone/>
              <a:defRPr sz="2200" b="0" cap="none" baseline="0">
                <a:solidFill>
                  <a:srgbClr val="19BBB7"/>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chorCtr="0">
            <a:normAutofit/>
          </a:bodyPr>
          <a:lstStyle>
            <a:lvl1pPr>
              <a:buClr>
                <a:srgbClr val="19BBB7"/>
              </a:buClr>
              <a:defRPr baseline="0">
                <a:solidFill>
                  <a:schemeClr val="tx2"/>
                </a:solidFill>
                <a:latin typeface="+mn-lt"/>
              </a:defRPr>
            </a:lvl1pPr>
            <a:lvl2pPr>
              <a:buClr>
                <a:srgbClr val="19BBB7"/>
              </a:buClr>
              <a:defRPr baseline="0">
                <a:latin typeface="+mn-lt"/>
              </a:defRPr>
            </a:lvl2pPr>
            <a:lvl3pPr>
              <a:buClr>
                <a:srgbClr val="19BBB7"/>
              </a:buClr>
              <a:defRPr baseline="0">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3361376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baseline="0">
                <a:solidFill>
                  <a:schemeClr val="tx2"/>
                </a:solidFill>
              </a:defRPr>
            </a:lvl1pPr>
          </a:lstStyle>
          <a:p>
            <a:r>
              <a:rPr lang="en-US" dirty="0"/>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0287049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ya - Comparison / Two Content - Whit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447560" y="192024"/>
            <a:ext cx="7068312" cy="457200"/>
          </a:xfrm>
        </p:spPr>
        <p:txBody>
          <a:bodyPr>
            <a:noAutofit/>
          </a:bodyPr>
          <a:lstStyle>
            <a:lvl1pPr algn="l">
              <a:defRPr baseline="0">
                <a:solidFill>
                  <a:schemeClr val="tx2"/>
                </a:solidFill>
              </a:defRPr>
            </a:lvl1pPr>
          </a:lstStyle>
          <a:p>
            <a:r>
              <a:rPr lang="en-US" dirty="0"/>
              <a:t>Click to Edit Title</a:t>
            </a:r>
          </a:p>
        </p:txBody>
      </p:sp>
      <p:sp>
        <p:nvSpPr>
          <p:cNvPr id="6" name="Content Placeholder 2"/>
          <p:cNvSpPr>
            <a:spLocks noGrp="1"/>
          </p:cNvSpPr>
          <p:nvPr>
            <p:ph sz="quarter" idx="4" hasCustomPrompt="1"/>
          </p:nvPr>
        </p:nvSpPr>
        <p:spPr>
          <a:xfrm>
            <a:off x="627641" y="1014984"/>
            <a:ext cx="3886200" cy="3639312"/>
          </a:xfrm>
        </p:spPr>
        <p:txBody>
          <a:bodyPr wrap="square" anchor="t" anchorCtr="0">
            <a:normAutofit/>
          </a:bodyPr>
          <a:lstStyle>
            <a:lvl1pPr>
              <a:buClr>
                <a:srgbClr val="19BBB7"/>
              </a:buClr>
              <a:defRPr sz="2000" baseline="0">
                <a:solidFill>
                  <a:schemeClr val="tx2"/>
                </a:solidFill>
                <a:latin typeface="+mn-lt"/>
              </a:defRPr>
            </a:lvl1pPr>
            <a:lvl2pPr>
              <a:buClr>
                <a:srgbClr val="19BBB7"/>
              </a:buClr>
              <a:defRPr sz="1800" baseline="0">
                <a:latin typeface="+mn-lt"/>
              </a:defRPr>
            </a:lvl2pPr>
            <a:lvl3pPr>
              <a:buClr>
                <a:srgbClr val="19BBB7"/>
              </a:buClr>
              <a:defRPr sz="1400" baseline="0">
                <a:latin typeface="+mn-lt"/>
              </a:defRPr>
            </a:lvl3pPr>
            <a:lvl4pPr>
              <a:buClr>
                <a:srgbClr val="19BBB7"/>
              </a:buClr>
              <a:defRPr sz="1200" baseline="0">
                <a:latin typeface="+mj-lt"/>
              </a:defRPr>
            </a:lvl4pPr>
            <a:lvl5pPr>
              <a:buClr>
                <a:srgbClr val="19BBB7"/>
              </a:buCl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3"/>
          <p:cNvSpPr>
            <a:spLocks noGrp="1"/>
          </p:cNvSpPr>
          <p:nvPr>
            <p:ph sz="quarter" idx="15" hasCustomPrompt="1"/>
          </p:nvPr>
        </p:nvSpPr>
        <p:spPr>
          <a:xfrm>
            <a:off x="4633882" y="1014984"/>
            <a:ext cx="3886200" cy="3639312"/>
          </a:xfrm>
        </p:spPr>
        <p:txBody>
          <a:bodyPr wrap="square">
            <a:normAutofit/>
          </a:bodyPr>
          <a:lstStyle>
            <a:lvl1pPr>
              <a:buClr>
                <a:srgbClr val="19BBB7"/>
              </a:buClr>
              <a:defRPr sz="2000" baseline="0">
                <a:solidFill>
                  <a:schemeClr val="tx2"/>
                </a:solidFill>
                <a:latin typeface="+mn-lt"/>
              </a:defRPr>
            </a:lvl1pPr>
            <a:lvl2pPr>
              <a:buClr>
                <a:srgbClr val="19BBB7"/>
              </a:buClr>
              <a:defRPr baseline="0">
                <a:latin typeface="+mn-lt"/>
              </a:defRPr>
            </a:lvl2pPr>
            <a:lvl3pPr>
              <a:buClr>
                <a:srgbClr val="19BBB7"/>
              </a:buClr>
              <a:defRPr baseline="0">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4"/>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0891054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ya - Content with Caption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014984"/>
            <a:ext cx="3127248" cy="369332"/>
          </a:xfrm>
        </p:spPr>
        <p:txBody>
          <a:bodyPr lIns="91440" rIns="91440" anchor="t" anchorCtr="0">
            <a:spAutoFit/>
          </a:bodyPr>
          <a:lstStyle>
            <a:lvl1pPr algn="ct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i="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60"/>
            <a:ext cx="6016752" cy="4507140"/>
          </a:xfrm>
        </p:spPr>
        <p:txBody>
          <a:bodyPr vert="horz" lIns="274320" tIns="45720" rIns="457200" bIns="91440" rtlCol="0" anchor="t" anchorCtr="0">
            <a:normAutofit/>
          </a:bodyPr>
          <a:lstStyle>
            <a:lvl1pPr>
              <a:defRPr lang="en-US" dirty="0" smtClean="0">
                <a:solidFill>
                  <a:schemeClr val="tx2"/>
                </a:solidFill>
              </a:defRPr>
            </a:lvl1pPr>
            <a:lvl2pPr>
              <a:defRPr lang="en-US" dirty="0" smtClean="0"/>
            </a:lvl2pPr>
            <a:lvl3pPr>
              <a:defRPr lang="en-US" dirty="0" smtClean="0"/>
            </a:lvl3pPr>
            <a:lvl4pPr>
              <a:defRPr lang="en-US" dirty="0" smtClean="0"/>
            </a:lvl4pPr>
            <a:lvl5pPr>
              <a:defRPr lang="en-US" dirty="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1489933"/>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6"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sp>
        <p:nvSpPr>
          <p:cNvPr id="7" name="TextBox 6"/>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Tree>
    <p:extLst>
      <p:ext uri="{BB962C8B-B14F-4D97-AF65-F5344CB8AC3E}">
        <p14:creationId xmlns:p14="http://schemas.microsoft.com/office/powerpoint/2010/main" val="23815054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Viya - Case Study Only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510269" cy="429768"/>
          </a:xfrm>
        </p:spPr>
        <p:txBody>
          <a:bodyPr lIns="182880" rIns="182880"/>
          <a:lstStyle>
            <a:lvl1pPr algn="ctr">
              <a:defRPr sz="2200" baseline="0">
                <a:latin typeface="+mj-lt"/>
              </a:defRPr>
            </a:lvl1pPr>
          </a:lstStyle>
          <a:p>
            <a:r>
              <a:rPr lang="en-US" dirty="0"/>
              <a:t>Customer Success - Click to Edit Title</a:t>
            </a:r>
          </a:p>
        </p:txBody>
      </p:sp>
      <p:sp>
        <p:nvSpPr>
          <p:cNvPr id="21" name="Text Placeholder 2"/>
          <p:cNvSpPr>
            <a:spLocks noGrp="1"/>
          </p:cNvSpPr>
          <p:nvPr>
            <p:ph type="body" sz="quarter" idx="11" hasCustomPrompt="1"/>
          </p:nvPr>
        </p:nvSpPr>
        <p:spPr>
          <a:xfrm>
            <a:off x="6510270" y="1018333"/>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514"/>
            <a:ext cx="6510270" cy="4085003"/>
          </a:xfrm>
        </p:spPr>
        <p:txBody>
          <a:bodyPr wrap="square" lIns="365760" rIns="274320" anchor="t">
            <a:normAutofit/>
          </a:bodyPr>
          <a:lstStyle>
            <a:lvl1pPr>
              <a:defRPr sz="2000" baseline="0">
                <a:latin typeface="+mn-lt"/>
              </a:defRPr>
            </a:lvl1pPr>
            <a:lvl2pPr>
              <a:defRPr sz="1800" baseline="0">
                <a:latin typeface="+mn-lt"/>
              </a:defRPr>
            </a:lvl2pPr>
            <a:lvl3pPr>
              <a:defRPr sz="1600"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1575122"/>
            <a:ext cx="2448000" cy="2068474"/>
          </a:xfrm>
        </p:spPr>
        <p:txBody>
          <a:bodyPr wrap="square" anchor="t">
            <a:normAutofit/>
          </a:bodyPr>
          <a:lstStyle>
            <a:lvl1pPr marL="0" indent="-182880">
              <a:lnSpc>
                <a:spcPct val="85000"/>
              </a:lnSpc>
              <a:buFont typeface="Arial" pitchFamily="34" charset="0"/>
              <a:buNone/>
              <a:defRPr sz="16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norm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4"/>
            <a:ext cx="2450592" cy="502920"/>
          </a:xfrm>
        </p:spPr>
        <p:txBody>
          <a:bodyPr wrap="square" anchor="t">
            <a:norm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sp>
        <p:nvSpPr>
          <p:cNvPr id="8" name="Text Placeholder 7"/>
          <p:cNvSpPr>
            <a:spLocks noGrp="1"/>
          </p:cNvSpPr>
          <p:nvPr>
            <p:ph type="body" sz="quarter" idx="19" hasCustomPrompt="1"/>
          </p:nvPr>
        </p:nvSpPr>
        <p:spPr>
          <a:xfrm>
            <a:off x="6507280" y="4735984"/>
            <a:ext cx="1484986" cy="292100"/>
          </a:xfrm>
        </p:spPr>
        <p:txBody>
          <a:bodyPr anchor="ctr" anchorCtr="0">
            <a:noAutofit/>
          </a:bodyPr>
          <a:lstStyle>
            <a:lvl1pPr marL="0" indent="0">
              <a:buNone/>
              <a:defRPr sz="1200" baseline="0">
                <a:solidFill>
                  <a:schemeClr val="bg1"/>
                </a:solidFill>
                <a:latin typeface="+mn-lt"/>
              </a:defRPr>
            </a:lvl1pPr>
          </a:lstStyle>
          <a:p>
            <a:pPr lvl="0"/>
            <a:r>
              <a:rPr lang="en-US" dirty="0"/>
              <a:t>Partner Name</a:t>
            </a:r>
          </a:p>
        </p:txBody>
      </p:sp>
      <p:sp>
        <p:nvSpPr>
          <p:cNvPr id="10" name="Text Placeholder 9"/>
          <p:cNvSpPr>
            <a:spLocks noGrp="1"/>
          </p:cNvSpPr>
          <p:nvPr>
            <p:ph type="body" sz="quarter" idx="20" hasCustomPrompt="1"/>
          </p:nvPr>
        </p:nvSpPr>
        <p:spPr>
          <a:xfrm>
            <a:off x="1" y="4728518"/>
            <a:ext cx="6510268" cy="184150"/>
          </a:xfrm>
        </p:spPr>
        <p:txBody>
          <a:bodyPr>
            <a:noAutofit/>
          </a:bodyPr>
          <a:lstStyle>
            <a:lvl1pPr marL="0" indent="0" algn="ctr">
              <a:buNone/>
              <a:defRPr sz="1200" baseline="0"/>
            </a:lvl1pPr>
            <a:lvl2pPr marL="182880" indent="0">
              <a:buNone/>
              <a:defRPr/>
            </a:lvl2pPr>
            <a:lvl3pPr marL="365760" indent="0">
              <a:buNone/>
              <a:defRPr/>
            </a:lvl3pPr>
            <a:lvl4pPr marL="548640" indent="0">
              <a:buNone/>
              <a:defRPr/>
            </a:lvl4pPr>
            <a:lvl5pPr marL="731520" indent="0">
              <a:buNone/>
              <a:defRPr/>
            </a:lvl5pPr>
          </a:lstStyle>
          <a:p>
            <a:pPr lvl="0"/>
            <a:r>
              <a:rPr lang="en-US" dirty="0"/>
              <a:t>Click to add URL to online story</a:t>
            </a:r>
          </a:p>
        </p:txBody>
      </p:sp>
      <p:sp>
        <p:nvSpPr>
          <p:cNvPr id="42"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extLst mod="1">
    <p:ext uri="{DCECCB84-F9BA-43D5-87BE-67443E8EF086}">
      <p15:sldGuideLst xmlns:p15="http://schemas.microsoft.com/office/powerpoint/2012/main">
        <p15:guide id="1" orient="horz" pos="636"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AS - 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dirty="0"/>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85906946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Viya - Teal Section">
    <p:bg>
      <p:bgPr>
        <a:gradFill>
          <a:gsLst>
            <a:gs pos="0">
              <a:srgbClr val="19BBB7"/>
            </a:gs>
            <a:gs pos="100000">
              <a:srgbClr val="00727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6"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0C3D2"/>
                </a:solidFill>
                <a:effectLst/>
                <a:uLnTx/>
                <a:uFillTx/>
                <a:latin typeface="+mn-lt"/>
                <a:ea typeface="Calibri" charset="0"/>
                <a:cs typeface="Arial" panose="020B0604020202020204" pitchFamily="34" charset="0"/>
              </a:rPr>
              <a:t>Copyright © 2019 Scott Mongeau All rights reserved.</a:t>
            </a:r>
          </a:p>
        </p:txBody>
      </p:sp>
    </p:spTree>
    <p:extLst>
      <p:ext uri="{BB962C8B-B14F-4D97-AF65-F5344CB8AC3E}">
        <p14:creationId xmlns:p14="http://schemas.microsoft.com/office/powerpoint/2010/main" val="18408435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ya - Blank - White">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9074315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ya - Title &amp; Content - Blu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bg1"/>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defRPr baseline="0">
                <a:solidFill>
                  <a:schemeClr val="bg1"/>
                </a:solidFill>
                <a:latin typeface="+mn-lt"/>
              </a:defRPr>
            </a:lvl1pPr>
            <a:lvl2pPr>
              <a:defRPr baseline="0">
                <a:solidFill>
                  <a:schemeClr val="bg1"/>
                </a:solidFill>
                <a:latin typeface="+mn-lt"/>
              </a:defRPr>
            </a:lvl2pPr>
            <a:lvl3pPr>
              <a:defRPr baseline="0">
                <a:solidFill>
                  <a:schemeClr val="bg1"/>
                </a:solidFill>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Tree>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ya - Title, Subtitle &amp; Content - Blu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bg1"/>
                </a:solidFill>
              </a:defRPr>
            </a:lvl1pPr>
          </a:lstStyle>
          <a:p>
            <a:r>
              <a:rPr lang="en-US" dirty="0"/>
              <a:t>Click to Edit Title</a:t>
            </a:r>
          </a:p>
        </p:txBody>
      </p:sp>
      <p:sp>
        <p:nvSpPr>
          <p:cNvPr id="6" name="Text Placeholder 2"/>
          <p:cNvSpPr>
            <a:spLocks noGrp="1"/>
          </p:cNvSpPr>
          <p:nvPr>
            <p:ph type="body" sz="quarter" idx="12" hasCustomPrompt="1"/>
          </p:nvPr>
        </p:nvSpPr>
        <p:spPr>
          <a:xfrm flipH="1">
            <a:off x="1458049" y="640080"/>
            <a:ext cx="7068312" cy="274320"/>
          </a:xfrm>
        </p:spPr>
        <p:txBody>
          <a:bodyPr wrap="square" anchor="ctr">
            <a:noAutofit/>
          </a:bodyPr>
          <a:lstStyle>
            <a:lvl1pPr marL="0" indent="0" algn="l">
              <a:lnSpc>
                <a:spcPct val="100000"/>
              </a:lnSpc>
              <a:spcBef>
                <a:spcPts val="0"/>
              </a:spcBef>
              <a:buFont typeface="Arial" pitchFamily="34" charset="0"/>
              <a:buNone/>
              <a:defRPr sz="2200" b="0" cap="none" baseline="0">
                <a:solidFill>
                  <a:srgbClr val="19BBB7"/>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chorCtr="0">
            <a:normAutofit/>
          </a:bodyPr>
          <a:lstStyle>
            <a:lvl1pPr>
              <a:buClr>
                <a:srgbClr val="19BBB7"/>
              </a:buClr>
              <a:defRPr baseline="0">
                <a:solidFill>
                  <a:schemeClr val="bg1"/>
                </a:solidFill>
                <a:latin typeface="+mn-lt"/>
              </a:defRPr>
            </a:lvl1pPr>
            <a:lvl2pPr>
              <a:buClr>
                <a:srgbClr val="19BBB7"/>
              </a:buClr>
              <a:defRPr baseline="0">
                <a:solidFill>
                  <a:schemeClr val="bg1"/>
                </a:solidFill>
                <a:latin typeface="+mn-lt"/>
              </a:defRPr>
            </a:lvl2pPr>
            <a:lvl3pPr>
              <a:buClr>
                <a:srgbClr val="19BBB7"/>
              </a:buClr>
              <a:defRPr baseline="0">
                <a:solidFill>
                  <a:schemeClr val="bg1"/>
                </a:solidFill>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Tree>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ya - Title Only -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baseline="0">
                <a:solidFill>
                  <a:schemeClr val="bg1"/>
                </a:solidFill>
              </a:defRPr>
            </a:lvl1pPr>
          </a:lstStyle>
          <a:p>
            <a:r>
              <a:rPr lang="en-US" dirty="0"/>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dirty="0"/>
          </a:p>
        </p:txBody>
      </p:sp>
    </p:spTree>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ya - Comparison - Blu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447560" y="192024"/>
            <a:ext cx="7068312" cy="457200"/>
          </a:xfrm>
        </p:spPr>
        <p:txBody>
          <a:bodyPr>
            <a:noAutofit/>
          </a:bodyPr>
          <a:lstStyle>
            <a:lvl1pPr algn="l">
              <a:defRPr baseline="0">
                <a:solidFill>
                  <a:schemeClr val="bg1"/>
                </a:solidFill>
              </a:defRPr>
            </a:lvl1pPr>
          </a:lstStyle>
          <a:p>
            <a:r>
              <a:rPr lang="en-US" dirty="0"/>
              <a:t>Click to Edit Title</a:t>
            </a:r>
          </a:p>
        </p:txBody>
      </p:sp>
      <p:sp>
        <p:nvSpPr>
          <p:cNvPr id="6" name="Content Placeholder 2"/>
          <p:cNvSpPr>
            <a:spLocks noGrp="1"/>
          </p:cNvSpPr>
          <p:nvPr>
            <p:ph sz="quarter" idx="4" hasCustomPrompt="1"/>
          </p:nvPr>
        </p:nvSpPr>
        <p:spPr>
          <a:xfrm>
            <a:off x="627641" y="1014984"/>
            <a:ext cx="3886200" cy="3639312"/>
          </a:xfrm>
        </p:spPr>
        <p:txBody>
          <a:bodyPr wrap="square" anchor="t" anchorCtr="0">
            <a:normAutofit/>
          </a:bodyPr>
          <a:lstStyle>
            <a:lvl1pPr>
              <a:buClr>
                <a:srgbClr val="19BBB7"/>
              </a:buClr>
              <a:defRPr sz="2000" baseline="0">
                <a:solidFill>
                  <a:schemeClr val="bg1"/>
                </a:solidFill>
                <a:latin typeface="+mn-lt"/>
              </a:defRPr>
            </a:lvl1pPr>
            <a:lvl2pPr>
              <a:buClr>
                <a:srgbClr val="19BBB7"/>
              </a:buClr>
              <a:defRPr sz="1800" baseline="0">
                <a:solidFill>
                  <a:schemeClr val="bg1"/>
                </a:solidFill>
                <a:latin typeface="+mn-lt"/>
              </a:defRPr>
            </a:lvl2pPr>
            <a:lvl3pPr>
              <a:buClr>
                <a:srgbClr val="19BBB7"/>
              </a:buClr>
              <a:defRPr sz="1400" baseline="0">
                <a:solidFill>
                  <a:schemeClr val="bg1"/>
                </a:solidFill>
                <a:latin typeface="+mn-lt"/>
              </a:defRPr>
            </a:lvl3pPr>
            <a:lvl4pPr>
              <a:buClr>
                <a:srgbClr val="19BBB7"/>
              </a:buClr>
              <a:defRPr sz="1200" baseline="0">
                <a:latin typeface="+mj-lt"/>
              </a:defRPr>
            </a:lvl4pPr>
            <a:lvl5pPr>
              <a:buClr>
                <a:srgbClr val="19BBB7"/>
              </a:buCl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3"/>
          <p:cNvSpPr>
            <a:spLocks noGrp="1"/>
          </p:cNvSpPr>
          <p:nvPr>
            <p:ph sz="quarter" idx="15" hasCustomPrompt="1"/>
          </p:nvPr>
        </p:nvSpPr>
        <p:spPr>
          <a:xfrm>
            <a:off x="4633882" y="1014984"/>
            <a:ext cx="3886200" cy="3639312"/>
          </a:xfrm>
        </p:spPr>
        <p:txBody>
          <a:bodyPr wrap="square">
            <a:normAutofit/>
          </a:bodyPr>
          <a:lstStyle>
            <a:lvl1pPr>
              <a:buClr>
                <a:srgbClr val="19BBB7"/>
              </a:buClr>
              <a:defRPr sz="2000" baseline="0">
                <a:solidFill>
                  <a:schemeClr val="bg1"/>
                </a:solidFill>
                <a:latin typeface="+mn-lt"/>
              </a:defRPr>
            </a:lvl1pPr>
            <a:lvl2pPr>
              <a:buClr>
                <a:srgbClr val="19BBB7"/>
              </a:buClr>
              <a:defRPr baseline="0">
                <a:solidFill>
                  <a:schemeClr val="bg1"/>
                </a:solidFill>
                <a:latin typeface="+mn-lt"/>
              </a:defRPr>
            </a:lvl2pPr>
            <a:lvl3pPr>
              <a:buClr>
                <a:srgbClr val="19BBB7"/>
              </a:buClr>
              <a:defRPr baseline="0">
                <a:solidFill>
                  <a:schemeClr val="bg1"/>
                </a:solidFill>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4"/>
          <p:cNvSpPr>
            <a:spLocks noGrp="1"/>
          </p:cNvSpPr>
          <p:nvPr>
            <p:ph type="sldNum" sz="quarter" idx="17"/>
          </p:nvPr>
        </p:nvSpPr>
        <p:spPr/>
        <p:txBody>
          <a:bodyPr/>
          <a:lstStyle/>
          <a:p>
            <a:fld id="{4976208B-6111-490B-8CEC-FFB249DB2100}" type="slidenum">
              <a:rPr lang="en-US" smtClean="0"/>
              <a:pPr/>
              <a:t>‹#›</a:t>
            </a:fld>
            <a:endParaRPr lang="en-US" dirty="0"/>
          </a:p>
        </p:txBody>
      </p:sp>
    </p:spTree>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Viya - Content with Caption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34" name="Rectangle 33"/>
          <p:cNvSpPr/>
          <p:nvPr userDrawn="1"/>
        </p:nvSpPr>
        <p:spPr>
          <a:xfrm>
            <a:off x="0" y="12357"/>
            <a:ext cx="3127248"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1014984"/>
            <a:ext cx="3127248" cy="369332"/>
          </a:xfrm>
        </p:spPr>
        <p:txBody>
          <a:bodyPr lIns="91440" rIns="91440" anchor="t" anchorCtr="0">
            <a:spAutoFit/>
          </a:bodyPr>
          <a:lstStyle>
            <a:lvl1pPr algn="ct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i="0" cap="none" baseline="0">
                <a:solidFill>
                  <a:schemeClr val="bg1"/>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12" name="Text Placeholder 4"/>
          <p:cNvSpPr>
            <a:spLocks noGrp="1"/>
          </p:cNvSpPr>
          <p:nvPr>
            <p:ph type="body" sz="quarter" idx="13" hasCustomPrompt="1"/>
          </p:nvPr>
        </p:nvSpPr>
        <p:spPr>
          <a:xfrm>
            <a:off x="411480" y="1489933"/>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6"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grpSp>
        <p:nvGrpSpPr>
          <p:cNvPr id="10" name="Group 9"/>
          <p:cNvGrpSpPr/>
          <p:nvPr userDrawn="1"/>
        </p:nvGrpSpPr>
        <p:grpSpPr>
          <a:xfrm>
            <a:off x="8425797" y="4765184"/>
            <a:ext cx="526892" cy="220528"/>
            <a:chOff x="6145213" y="4384676"/>
            <a:chExt cx="1582738" cy="649287"/>
          </a:xfrm>
          <a:solidFill>
            <a:schemeClr val="tx2"/>
          </a:solidFill>
        </p:grpSpPr>
        <p:sp>
          <p:nvSpPr>
            <p:cNvPr id="11"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5"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20"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accent1"/>
                </a:solidFill>
                <a:effectLst/>
                <a:uLnTx/>
                <a:uFillTx/>
                <a:latin typeface="+mn-lt"/>
                <a:ea typeface="Calibri" charset="0"/>
                <a:cs typeface="Arial" panose="020B0604020202020204" pitchFamily="34" charset="0"/>
              </a:rPr>
              <a:t>Copyright © 2019 Scott Mongeau All rights reserved.</a:t>
            </a:r>
          </a:p>
        </p:txBody>
      </p:sp>
      <p:grpSp>
        <p:nvGrpSpPr>
          <p:cNvPr id="36" name="Group 9"/>
          <p:cNvGrpSpPr>
            <a:grpSpLocks noChangeAspect="1"/>
          </p:cNvGrpSpPr>
          <p:nvPr userDrawn="1"/>
        </p:nvGrpSpPr>
        <p:grpSpPr bwMode="auto">
          <a:xfrm>
            <a:off x="274320" y="137160"/>
            <a:ext cx="915959" cy="640080"/>
            <a:chOff x="1968" y="1726"/>
            <a:chExt cx="1846" cy="1290"/>
          </a:xfrm>
          <a:solidFill>
            <a:schemeClr val="bg1"/>
          </a:solidFill>
        </p:grpSpPr>
        <p:sp>
          <p:nvSpPr>
            <p:cNvPr id="37" name="Freeform 36"/>
            <p:cNvSpPr>
              <a:spLocks noEditPoints="1"/>
            </p:cNvSpPr>
            <p:nvPr/>
          </p:nvSpPr>
          <p:spPr bwMode="auto">
            <a:xfrm>
              <a:off x="2446" y="1726"/>
              <a:ext cx="896" cy="588"/>
            </a:xfrm>
            <a:custGeom>
              <a:avLst/>
              <a:gdLst>
                <a:gd name="T0" fmla="*/ 1437 w 1489"/>
                <a:gd name="T1" fmla="*/ 936 h 976"/>
                <a:gd name="T2" fmla="*/ 1446 w 1489"/>
                <a:gd name="T3" fmla="*/ 922 h 976"/>
                <a:gd name="T4" fmla="*/ 1444 w 1489"/>
                <a:gd name="T5" fmla="*/ 936 h 976"/>
                <a:gd name="T6" fmla="*/ 1437 w 1489"/>
                <a:gd name="T7" fmla="*/ 936 h 976"/>
                <a:gd name="T8" fmla="*/ 1433 w 1489"/>
                <a:gd name="T9" fmla="*/ 957 h 976"/>
                <a:gd name="T10" fmla="*/ 1437 w 1489"/>
                <a:gd name="T11" fmla="*/ 940 h 976"/>
                <a:gd name="T12" fmla="*/ 1455 w 1489"/>
                <a:gd name="T13" fmla="*/ 957 h 976"/>
                <a:gd name="T14" fmla="*/ 1449 w 1489"/>
                <a:gd name="T15" fmla="*/ 939 h 976"/>
                <a:gd name="T16" fmla="*/ 1446 w 1489"/>
                <a:gd name="T17" fmla="*/ 918 h 976"/>
                <a:gd name="T18" fmla="*/ 1433 w 1489"/>
                <a:gd name="T19" fmla="*/ 957 h 976"/>
                <a:gd name="T20" fmla="*/ 1414 w 1489"/>
                <a:gd name="T21" fmla="*/ 938 h 976"/>
                <a:gd name="T22" fmla="*/ 1445 w 1489"/>
                <a:gd name="T23" fmla="*/ 907 h 976"/>
                <a:gd name="T24" fmla="*/ 1445 w 1489"/>
                <a:gd name="T25" fmla="*/ 969 h 976"/>
                <a:gd name="T26" fmla="*/ 1414 w 1489"/>
                <a:gd name="T27" fmla="*/ 938 h 976"/>
                <a:gd name="T28" fmla="*/ 1410 w 1489"/>
                <a:gd name="T29" fmla="*/ 938 h 976"/>
                <a:gd name="T30" fmla="*/ 1480 w 1489"/>
                <a:gd name="T31" fmla="*/ 938 h 976"/>
                <a:gd name="T32" fmla="*/ 1410 w 1489"/>
                <a:gd name="T33" fmla="*/ 938 h 976"/>
                <a:gd name="T34" fmla="*/ 1203 w 1489"/>
                <a:gd name="T35" fmla="*/ 976 h 976"/>
                <a:gd name="T36" fmla="*/ 1189 w 1489"/>
                <a:gd name="T37" fmla="*/ 975 h 976"/>
                <a:gd name="T38" fmla="*/ 286 w 1489"/>
                <a:gd name="T39" fmla="*/ 976 h 976"/>
                <a:gd name="T40" fmla="*/ 240 w 1489"/>
                <a:gd name="T41" fmla="*/ 408 h 976"/>
                <a:gd name="T42" fmla="*/ 623 w 1489"/>
                <a:gd name="T43" fmla="*/ 0 h 976"/>
                <a:gd name="T44" fmla="*/ 901 w 1489"/>
                <a:gd name="T45" fmla="*/ 121 h 976"/>
                <a:gd name="T46" fmla="*/ 872 w 1489"/>
                <a:gd name="T47" fmla="*/ 182 h 976"/>
                <a:gd name="T48" fmla="*/ 840 w 1489"/>
                <a:gd name="T49" fmla="*/ 166 h 976"/>
                <a:gd name="T50" fmla="*/ 314 w 1489"/>
                <a:gd name="T51" fmla="*/ 384 h 976"/>
                <a:gd name="T52" fmla="*/ 326 w 1489"/>
                <a:gd name="T53" fmla="*/ 479 h 976"/>
                <a:gd name="T54" fmla="*/ 76 w 1489"/>
                <a:gd name="T55" fmla="*/ 690 h 976"/>
                <a:gd name="T56" fmla="*/ 298 w 1489"/>
                <a:gd name="T57" fmla="*/ 900 h 976"/>
                <a:gd name="T58" fmla="*/ 1192 w 1489"/>
                <a:gd name="T59" fmla="*/ 900 h 976"/>
                <a:gd name="T60" fmla="*/ 1413 w 1489"/>
                <a:gd name="T61" fmla="*/ 690 h 976"/>
                <a:gd name="T62" fmla="*/ 1186 w 1489"/>
                <a:gd name="T63" fmla="*/ 476 h 976"/>
                <a:gd name="T64" fmla="*/ 1199 w 1489"/>
                <a:gd name="T65" fmla="*/ 406 h 976"/>
                <a:gd name="T66" fmla="*/ 1159 w 1489"/>
                <a:gd name="T67" fmla="*/ 314 h 976"/>
                <a:gd name="T68" fmla="*/ 1071 w 1489"/>
                <a:gd name="T69" fmla="*/ 279 h 976"/>
                <a:gd name="T70" fmla="*/ 963 w 1489"/>
                <a:gd name="T71" fmla="*/ 336 h 976"/>
                <a:gd name="T72" fmla="*/ 766 w 1489"/>
                <a:gd name="T73" fmla="*/ 777 h 976"/>
                <a:gd name="T74" fmla="*/ 716 w 1489"/>
                <a:gd name="T75" fmla="*/ 796 h 976"/>
                <a:gd name="T76" fmla="*/ 535 w 1489"/>
                <a:gd name="T77" fmla="*/ 411 h 976"/>
                <a:gd name="T78" fmla="*/ 604 w 1489"/>
                <a:gd name="T79" fmla="*/ 381 h 976"/>
                <a:gd name="T80" fmla="*/ 883 w 1489"/>
                <a:gd name="T81" fmla="*/ 324 h 976"/>
                <a:gd name="T82" fmla="*/ 1046 w 1489"/>
                <a:gd name="T83" fmla="*/ 205 h 976"/>
                <a:gd name="T84" fmla="*/ 1080 w 1489"/>
                <a:gd name="T85" fmla="*/ 204 h 976"/>
                <a:gd name="T86" fmla="*/ 1206 w 1489"/>
                <a:gd name="T87" fmla="*/ 254 h 976"/>
                <a:gd name="T88" fmla="*/ 1216 w 1489"/>
                <a:gd name="T89" fmla="*/ 264 h 976"/>
                <a:gd name="T90" fmla="*/ 1249 w 1489"/>
                <a:gd name="T91" fmla="*/ 307 h 976"/>
                <a:gd name="T92" fmla="*/ 1275 w 1489"/>
                <a:gd name="T93" fmla="*/ 413 h 976"/>
                <a:gd name="T94" fmla="*/ 1203 w 1489"/>
                <a:gd name="T95" fmla="*/ 97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9" h="976">
                  <a:moveTo>
                    <a:pt x="1437" y="936"/>
                  </a:moveTo>
                  <a:lnTo>
                    <a:pt x="1437" y="936"/>
                  </a:lnTo>
                  <a:lnTo>
                    <a:pt x="1437" y="922"/>
                  </a:lnTo>
                  <a:lnTo>
                    <a:pt x="1446" y="922"/>
                  </a:lnTo>
                  <a:cubicBezTo>
                    <a:pt x="1450" y="922"/>
                    <a:pt x="1455" y="923"/>
                    <a:pt x="1455" y="929"/>
                  </a:cubicBezTo>
                  <a:cubicBezTo>
                    <a:pt x="1455" y="935"/>
                    <a:pt x="1450" y="936"/>
                    <a:pt x="1444" y="936"/>
                  </a:cubicBezTo>
                  <a:lnTo>
                    <a:pt x="1437" y="936"/>
                  </a:lnTo>
                  <a:lnTo>
                    <a:pt x="1437" y="936"/>
                  </a:lnTo>
                  <a:close/>
                  <a:moveTo>
                    <a:pt x="1433" y="957"/>
                  </a:moveTo>
                  <a:lnTo>
                    <a:pt x="1433" y="957"/>
                  </a:lnTo>
                  <a:lnTo>
                    <a:pt x="1437" y="957"/>
                  </a:lnTo>
                  <a:lnTo>
                    <a:pt x="1437" y="940"/>
                  </a:lnTo>
                  <a:lnTo>
                    <a:pt x="1444" y="940"/>
                  </a:lnTo>
                  <a:lnTo>
                    <a:pt x="1455" y="957"/>
                  </a:lnTo>
                  <a:lnTo>
                    <a:pt x="1461" y="957"/>
                  </a:lnTo>
                  <a:lnTo>
                    <a:pt x="1449" y="939"/>
                  </a:lnTo>
                  <a:cubicBezTo>
                    <a:pt x="1454" y="939"/>
                    <a:pt x="1459" y="935"/>
                    <a:pt x="1459" y="929"/>
                  </a:cubicBezTo>
                  <a:cubicBezTo>
                    <a:pt x="1459" y="921"/>
                    <a:pt x="1454" y="918"/>
                    <a:pt x="1446" y="918"/>
                  </a:cubicBezTo>
                  <a:lnTo>
                    <a:pt x="1433" y="918"/>
                  </a:lnTo>
                  <a:lnTo>
                    <a:pt x="1433" y="957"/>
                  </a:lnTo>
                  <a:lnTo>
                    <a:pt x="1433" y="957"/>
                  </a:lnTo>
                  <a:close/>
                  <a:moveTo>
                    <a:pt x="1414" y="938"/>
                  </a:moveTo>
                  <a:lnTo>
                    <a:pt x="1414" y="938"/>
                  </a:lnTo>
                  <a:cubicBezTo>
                    <a:pt x="1414" y="920"/>
                    <a:pt x="1428" y="907"/>
                    <a:pt x="1445" y="907"/>
                  </a:cubicBezTo>
                  <a:cubicBezTo>
                    <a:pt x="1462" y="907"/>
                    <a:pt x="1476" y="920"/>
                    <a:pt x="1476" y="938"/>
                  </a:cubicBezTo>
                  <a:cubicBezTo>
                    <a:pt x="1476" y="955"/>
                    <a:pt x="1462" y="969"/>
                    <a:pt x="1445" y="969"/>
                  </a:cubicBezTo>
                  <a:cubicBezTo>
                    <a:pt x="1428" y="969"/>
                    <a:pt x="1414" y="955"/>
                    <a:pt x="1414" y="938"/>
                  </a:cubicBezTo>
                  <a:lnTo>
                    <a:pt x="1414" y="938"/>
                  </a:lnTo>
                  <a:close/>
                  <a:moveTo>
                    <a:pt x="1410" y="938"/>
                  </a:moveTo>
                  <a:lnTo>
                    <a:pt x="1410" y="938"/>
                  </a:lnTo>
                  <a:cubicBezTo>
                    <a:pt x="1410" y="957"/>
                    <a:pt x="1426" y="972"/>
                    <a:pt x="1445" y="972"/>
                  </a:cubicBezTo>
                  <a:cubicBezTo>
                    <a:pt x="1464" y="972"/>
                    <a:pt x="1480" y="957"/>
                    <a:pt x="1480" y="938"/>
                  </a:cubicBezTo>
                  <a:cubicBezTo>
                    <a:pt x="1480" y="918"/>
                    <a:pt x="1464" y="903"/>
                    <a:pt x="1445" y="903"/>
                  </a:cubicBezTo>
                  <a:cubicBezTo>
                    <a:pt x="1426" y="903"/>
                    <a:pt x="1410" y="918"/>
                    <a:pt x="1410" y="938"/>
                  </a:cubicBezTo>
                  <a:lnTo>
                    <a:pt x="1410" y="938"/>
                  </a:lnTo>
                  <a:close/>
                  <a:moveTo>
                    <a:pt x="1203" y="976"/>
                  </a:moveTo>
                  <a:lnTo>
                    <a:pt x="1203" y="976"/>
                  </a:lnTo>
                  <a:cubicBezTo>
                    <a:pt x="1198" y="976"/>
                    <a:pt x="1193" y="975"/>
                    <a:pt x="1189" y="975"/>
                  </a:cubicBezTo>
                  <a:lnTo>
                    <a:pt x="301" y="975"/>
                  </a:lnTo>
                  <a:cubicBezTo>
                    <a:pt x="296" y="975"/>
                    <a:pt x="291" y="976"/>
                    <a:pt x="286" y="976"/>
                  </a:cubicBezTo>
                  <a:cubicBezTo>
                    <a:pt x="129" y="976"/>
                    <a:pt x="0" y="847"/>
                    <a:pt x="0" y="690"/>
                  </a:cubicBezTo>
                  <a:cubicBezTo>
                    <a:pt x="0" y="549"/>
                    <a:pt x="104" y="430"/>
                    <a:pt x="240" y="408"/>
                  </a:cubicBezTo>
                  <a:cubicBezTo>
                    <a:pt x="239" y="400"/>
                    <a:pt x="239" y="392"/>
                    <a:pt x="239" y="384"/>
                  </a:cubicBezTo>
                  <a:cubicBezTo>
                    <a:pt x="239" y="172"/>
                    <a:pt x="411" y="0"/>
                    <a:pt x="623" y="0"/>
                  </a:cubicBezTo>
                  <a:cubicBezTo>
                    <a:pt x="729" y="0"/>
                    <a:pt x="828" y="45"/>
                    <a:pt x="899" y="118"/>
                  </a:cubicBezTo>
                  <a:cubicBezTo>
                    <a:pt x="900" y="119"/>
                    <a:pt x="900" y="120"/>
                    <a:pt x="901" y="121"/>
                  </a:cubicBezTo>
                  <a:cubicBezTo>
                    <a:pt x="906" y="127"/>
                    <a:pt x="909" y="135"/>
                    <a:pt x="909" y="144"/>
                  </a:cubicBezTo>
                  <a:cubicBezTo>
                    <a:pt x="909" y="165"/>
                    <a:pt x="892" y="182"/>
                    <a:pt x="872" y="182"/>
                  </a:cubicBezTo>
                  <a:cubicBezTo>
                    <a:pt x="861" y="182"/>
                    <a:pt x="852" y="178"/>
                    <a:pt x="845" y="171"/>
                  </a:cubicBezTo>
                  <a:cubicBezTo>
                    <a:pt x="843" y="169"/>
                    <a:pt x="842" y="168"/>
                    <a:pt x="840" y="166"/>
                  </a:cubicBezTo>
                  <a:cubicBezTo>
                    <a:pt x="784" y="110"/>
                    <a:pt x="706" y="76"/>
                    <a:pt x="623" y="76"/>
                  </a:cubicBezTo>
                  <a:cubicBezTo>
                    <a:pt x="453" y="76"/>
                    <a:pt x="314" y="214"/>
                    <a:pt x="314" y="384"/>
                  </a:cubicBezTo>
                  <a:cubicBezTo>
                    <a:pt x="314" y="401"/>
                    <a:pt x="316" y="418"/>
                    <a:pt x="319" y="436"/>
                  </a:cubicBezTo>
                  <a:lnTo>
                    <a:pt x="326" y="479"/>
                  </a:lnTo>
                  <a:lnTo>
                    <a:pt x="282" y="480"/>
                  </a:lnTo>
                  <a:cubicBezTo>
                    <a:pt x="168" y="482"/>
                    <a:pt x="76" y="576"/>
                    <a:pt x="76" y="690"/>
                  </a:cubicBezTo>
                  <a:cubicBezTo>
                    <a:pt x="76" y="806"/>
                    <a:pt x="170" y="900"/>
                    <a:pt x="286" y="900"/>
                  </a:cubicBezTo>
                  <a:cubicBezTo>
                    <a:pt x="290" y="900"/>
                    <a:pt x="294" y="900"/>
                    <a:pt x="298" y="900"/>
                  </a:cubicBezTo>
                  <a:lnTo>
                    <a:pt x="299" y="899"/>
                  </a:lnTo>
                  <a:lnTo>
                    <a:pt x="1192" y="900"/>
                  </a:lnTo>
                  <a:cubicBezTo>
                    <a:pt x="1195" y="900"/>
                    <a:pt x="1199" y="900"/>
                    <a:pt x="1203" y="900"/>
                  </a:cubicBezTo>
                  <a:cubicBezTo>
                    <a:pt x="1319" y="900"/>
                    <a:pt x="1413" y="806"/>
                    <a:pt x="1413" y="690"/>
                  </a:cubicBezTo>
                  <a:cubicBezTo>
                    <a:pt x="1413" y="583"/>
                    <a:pt x="1334" y="494"/>
                    <a:pt x="1228" y="481"/>
                  </a:cubicBezTo>
                  <a:lnTo>
                    <a:pt x="1186" y="476"/>
                  </a:lnTo>
                  <a:lnTo>
                    <a:pt x="1196" y="435"/>
                  </a:lnTo>
                  <a:cubicBezTo>
                    <a:pt x="1198" y="425"/>
                    <a:pt x="1199" y="415"/>
                    <a:pt x="1199" y="406"/>
                  </a:cubicBezTo>
                  <a:cubicBezTo>
                    <a:pt x="1199" y="373"/>
                    <a:pt x="1186" y="343"/>
                    <a:pt x="1166" y="320"/>
                  </a:cubicBezTo>
                  <a:cubicBezTo>
                    <a:pt x="1164" y="318"/>
                    <a:pt x="1162" y="316"/>
                    <a:pt x="1159" y="314"/>
                  </a:cubicBezTo>
                  <a:cubicBezTo>
                    <a:pt x="1159" y="313"/>
                    <a:pt x="1158" y="313"/>
                    <a:pt x="1158" y="312"/>
                  </a:cubicBezTo>
                  <a:cubicBezTo>
                    <a:pt x="1135" y="292"/>
                    <a:pt x="1104" y="279"/>
                    <a:pt x="1071" y="279"/>
                  </a:cubicBezTo>
                  <a:cubicBezTo>
                    <a:pt x="1071" y="279"/>
                    <a:pt x="1071" y="279"/>
                    <a:pt x="1070" y="279"/>
                  </a:cubicBezTo>
                  <a:cubicBezTo>
                    <a:pt x="1000" y="275"/>
                    <a:pt x="968" y="329"/>
                    <a:pt x="963" y="336"/>
                  </a:cubicBezTo>
                  <a:cubicBezTo>
                    <a:pt x="959" y="343"/>
                    <a:pt x="958" y="343"/>
                    <a:pt x="951" y="357"/>
                  </a:cubicBezTo>
                  <a:lnTo>
                    <a:pt x="766" y="777"/>
                  </a:lnTo>
                  <a:cubicBezTo>
                    <a:pt x="760" y="791"/>
                    <a:pt x="746" y="799"/>
                    <a:pt x="731" y="799"/>
                  </a:cubicBezTo>
                  <a:cubicBezTo>
                    <a:pt x="726" y="799"/>
                    <a:pt x="721" y="798"/>
                    <a:pt x="716" y="796"/>
                  </a:cubicBezTo>
                  <a:cubicBezTo>
                    <a:pt x="705" y="791"/>
                    <a:pt x="698" y="782"/>
                    <a:pt x="695" y="772"/>
                  </a:cubicBezTo>
                  <a:lnTo>
                    <a:pt x="535" y="411"/>
                  </a:lnTo>
                  <a:cubicBezTo>
                    <a:pt x="527" y="392"/>
                    <a:pt x="535" y="370"/>
                    <a:pt x="555" y="361"/>
                  </a:cubicBezTo>
                  <a:cubicBezTo>
                    <a:pt x="574" y="353"/>
                    <a:pt x="596" y="361"/>
                    <a:pt x="604" y="381"/>
                  </a:cubicBezTo>
                  <a:lnTo>
                    <a:pt x="732" y="667"/>
                  </a:lnTo>
                  <a:lnTo>
                    <a:pt x="883" y="324"/>
                  </a:lnTo>
                  <a:cubicBezTo>
                    <a:pt x="883" y="324"/>
                    <a:pt x="883" y="324"/>
                    <a:pt x="883" y="324"/>
                  </a:cubicBezTo>
                  <a:cubicBezTo>
                    <a:pt x="912" y="260"/>
                    <a:pt x="974" y="214"/>
                    <a:pt x="1046" y="205"/>
                  </a:cubicBezTo>
                  <a:cubicBezTo>
                    <a:pt x="1046" y="205"/>
                    <a:pt x="1054" y="204"/>
                    <a:pt x="1058" y="204"/>
                  </a:cubicBezTo>
                  <a:cubicBezTo>
                    <a:pt x="1063" y="204"/>
                    <a:pt x="1078" y="204"/>
                    <a:pt x="1080" y="204"/>
                  </a:cubicBezTo>
                  <a:cubicBezTo>
                    <a:pt x="1082" y="204"/>
                    <a:pt x="1084" y="204"/>
                    <a:pt x="1086" y="204"/>
                  </a:cubicBezTo>
                  <a:cubicBezTo>
                    <a:pt x="1132" y="207"/>
                    <a:pt x="1173" y="225"/>
                    <a:pt x="1206" y="254"/>
                  </a:cubicBezTo>
                  <a:cubicBezTo>
                    <a:pt x="1208" y="255"/>
                    <a:pt x="1210" y="257"/>
                    <a:pt x="1212" y="259"/>
                  </a:cubicBezTo>
                  <a:cubicBezTo>
                    <a:pt x="1213" y="261"/>
                    <a:pt x="1215" y="262"/>
                    <a:pt x="1216" y="264"/>
                  </a:cubicBezTo>
                  <a:cubicBezTo>
                    <a:pt x="1229" y="276"/>
                    <a:pt x="1240" y="291"/>
                    <a:pt x="1249" y="306"/>
                  </a:cubicBezTo>
                  <a:lnTo>
                    <a:pt x="1249" y="307"/>
                  </a:lnTo>
                  <a:cubicBezTo>
                    <a:pt x="1265" y="336"/>
                    <a:pt x="1275" y="370"/>
                    <a:pt x="1275" y="406"/>
                  </a:cubicBezTo>
                  <a:cubicBezTo>
                    <a:pt x="1275" y="408"/>
                    <a:pt x="1275" y="411"/>
                    <a:pt x="1275" y="413"/>
                  </a:cubicBezTo>
                  <a:cubicBezTo>
                    <a:pt x="1399" y="445"/>
                    <a:pt x="1489" y="558"/>
                    <a:pt x="1489" y="690"/>
                  </a:cubicBezTo>
                  <a:cubicBezTo>
                    <a:pt x="1489" y="847"/>
                    <a:pt x="1361" y="976"/>
                    <a:pt x="1203" y="9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noEditPoints="1"/>
            </p:cNvSpPr>
            <p:nvPr/>
          </p:nvSpPr>
          <p:spPr bwMode="auto">
            <a:xfrm>
              <a:off x="1968" y="2534"/>
              <a:ext cx="1846" cy="482"/>
            </a:xfrm>
            <a:custGeom>
              <a:avLst/>
              <a:gdLst>
                <a:gd name="T0" fmla="*/ 3043 w 3068"/>
                <a:gd name="T1" fmla="*/ 213 h 801"/>
                <a:gd name="T2" fmla="*/ 3025 w 3068"/>
                <a:gd name="T3" fmla="*/ 220 h 801"/>
                <a:gd name="T4" fmla="*/ 3021 w 3068"/>
                <a:gd name="T5" fmla="*/ 202 h 801"/>
                <a:gd name="T6" fmla="*/ 3047 w 3068"/>
                <a:gd name="T7" fmla="*/ 213 h 801"/>
                <a:gd name="T8" fmla="*/ 3043 w 3068"/>
                <a:gd name="T9" fmla="*/ 241 h 801"/>
                <a:gd name="T10" fmla="*/ 3025 w 3068"/>
                <a:gd name="T11" fmla="*/ 241 h 801"/>
                <a:gd name="T12" fmla="*/ 3021 w 3068"/>
                <a:gd name="T13" fmla="*/ 202 h 801"/>
                <a:gd name="T14" fmla="*/ 3064 w 3068"/>
                <a:gd name="T15" fmla="*/ 222 h 801"/>
                <a:gd name="T16" fmla="*/ 3033 w 3068"/>
                <a:gd name="T17" fmla="*/ 253 h 801"/>
                <a:gd name="T18" fmla="*/ 3033 w 3068"/>
                <a:gd name="T19" fmla="*/ 187 h 801"/>
                <a:gd name="T20" fmla="*/ 2998 w 3068"/>
                <a:gd name="T21" fmla="*/ 222 h 801"/>
                <a:gd name="T22" fmla="*/ 2951 w 3068"/>
                <a:gd name="T23" fmla="*/ 420 h 801"/>
                <a:gd name="T24" fmla="*/ 2905 w 3068"/>
                <a:gd name="T25" fmla="*/ 398 h 801"/>
                <a:gd name="T26" fmla="*/ 2951 w 3068"/>
                <a:gd name="T27" fmla="*/ 420 h 801"/>
                <a:gd name="T28" fmla="*/ 2678 w 3068"/>
                <a:gd name="T29" fmla="*/ 500 h 801"/>
                <a:gd name="T30" fmla="*/ 2951 w 3068"/>
                <a:gd name="T31" fmla="*/ 349 h 801"/>
                <a:gd name="T32" fmla="*/ 2702 w 3068"/>
                <a:gd name="T33" fmla="*/ 257 h 801"/>
                <a:gd name="T34" fmla="*/ 2980 w 3068"/>
                <a:gd name="T35" fmla="*/ 515 h 801"/>
                <a:gd name="T36" fmla="*/ 2953 w 3068"/>
                <a:gd name="T37" fmla="*/ 519 h 801"/>
                <a:gd name="T38" fmla="*/ 2678 w 3068"/>
                <a:gd name="T39" fmla="*/ 500 h 801"/>
                <a:gd name="T40" fmla="*/ 2304 w 3068"/>
                <a:gd name="T41" fmla="*/ 796 h 801"/>
                <a:gd name="T42" fmla="*/ 2421 w 3068"/>
                <a:gd name="T43" fmla="*/ 702 h 801"/>
                <a:gd name="T44" fmla="*/ 2334 w 3068"/>
                <a:gd name="T45" fmla="*/ 219 h 801"/>
                <a:gd name="T46" fmla="*/ 2634 w 3068"/>
                <a:gd name="T47" fmla="*/ 219 h 801"/>
                <a:gd name="T48" fmla="*/ 2304 w 3068"/>
                <a:gd name="T49" fmla="*/ 796 h 801"/>
                <a:gd name="T50" fmla="*/ 2172 w 3068"/>
                <a:gd name="T51" fmla="*/ 219 h 801"/>
                <a:gd name="T52" fmla="*/ 2172 w 3068"/>
                <a:gd name="T53" fmla="*/ 601 h 801"/>
                <a:gd name="T54" fmla="*/ 2187 w 3068"/>
                <a:gd name="T55" fmla="*/ 86 h 801"/>
                <a:gd name="T56" fmla="*/ 2212 w 3068"/>
                <a:gd name="T57" fmla="*/ 59 h 801"/>
                <a:gd name="T58" fmla="*/ 1869 w 3068"/>
                <a:gd name="T59" fmla="*/ 566 h 801"/>
                <a:gd name="T60" fmla="*/ 2080 w 3068"/>
                <a:gd name="T61" fmla="*/ 16 h 801"/>
                <a:gd name="T62" fmla="*/ 1850 w 3068"/>
                <a:gd name="T63" fmla="*/ 601 h 801"/>
                <a:gd name="T64" fmla="*/ 1869 w 3068"/>
                <a:gd name="T65" fmla="*/ 566 h 801"/>
                <a:gd name="T66" fmla="*/ 1422 w 3068"/>
                <a:gd name="T67" fmla="*/ 38 h 801"/>
                <a:gd name="T68" fmla="*/ 1415 w 3068"/>
                <a:gd name="T69" fmla="*/ 24 h 801"/>
                <a:gd name="T70" fmla="*/ 1422 w 3068"/>
                <a:gd name="T71" fmla="*/ 38 h 801"/>
                <a:gd name="T72" fmla="*/ 1424 w 3068"/>
                <a:gd name="T73" fmla="*/ 20 h 801"/>
                <a:gd name="T74" fmla="*/ 1439 w 3068"/>
                <a:gd name="T75" fmla="*/ 59 h 801"/>
                <a:gd name="T76" fmla="*/ 1415 w 3068"/>
                <a:gd name="T77" fmla="*/ 42 h 801"/>
                <a:gd name="T78" fmla="*/ 1411 w 3068"/>
                <a:gd name="T79" fmla="*/ 20 h 801"/>
                <a:gd name="T80" fmla="*/ 1423 w 3068"/>
                <a:gd name="T81" fmla="*/ 71 h 801"/>
                <a:gd name="T82" fmla="*/ 1392 w 3068"/>
                <a:gd name="T83" fmla="*/ 40 h 801"/>
                <a:gd name="T84" fmla="*/ 1423 w 3068"/>
                <a:gd name="T85" fmla="*/ 5 h 801"/>
                <a:gd name="T86" fmla="*/ 1423 w 3068"/>
                <a:gd name="T87" fmla="*/ 74 h 801"/>
                <a:gd name="T88" fmla="*/ 1423 w 3068"/>
                <a:gd name="T89" fmla="*/ 5 h 801"/>
                <a:gd name="T90" fmla="*/ 1187 w 3068"/>
                <a:gd name="T91" fmla="*/ 27 h 801"/>
                <a:gd name="T92" fmla="*/ 1172 w 3068"/>
                <a:gd name="T93" fmla="*/ 617 h 801"/>
                <a:gd name="T94" fmla="*/ 1172 w 3068"/>
                <a:gd name="T95" fmla="*/ 589 h 801"/>
                <a:gd name="T96" fmla="*/ 1188 w 3068"/>
                <a:gd name="T97" fmla="*/ 0 h 801"/>
                <a:gd name="T98" fmla="*/ 1319 w 3068"/>
                <a:gd name="T99" fmla="*/ 87 h 801"/>
                <a:gd name="T100" fmla="*/ 832 w 3068"/>
                <a:gd name="T101" fmla="*/ 410 h 801"/>
                <a:gd name="T102" fmla="*/ 526 w 3068"/>
                <a:gd name="T103" fmla="*/ 410 h 801"/>
                <a:gd name="T104" fmla="*/ 412 w 3068"/>
                <a:gd name="T105" fmla="*/ 601 h 801"/>
                <a:gd name="T106" fmla="*/ 945 w 3068"/>
                <a:gd name="T107" fmla="*/ 601 h 801"/>
                <a:gd name="T108" fmla="*/ 514 w 3068"/>
                <a:gd name="T109" fmla="*/ 437 h 801"/>
                <a:gd name="T110" fmla="*/ 322 w 3068"/>
                <a:gd name="T111" fmla="*/ 87 h 801"/>
                <a:gd name="T112" fmla="*/ 40 w 3068"/>
                <a:gd name="T113" fmla="*/ 155 h 801"/>
                <a:gd name="T114" fmla="*/ 0 w 3068"/>
                <a:gd name="T115" fmla="*/ 542 h 801"/>
                <a:gd name="T116" fmla="*/ 326 w 3068"/>
                <a:gd name="T117" fmla="*/ 458 h 801"/>
                <a:gd name="T118" fmla="*/ 345 w 3068"/>
                <a:gd name="T119" fmla="*/ 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68" h="801">
                  <a:moveTo>
                    <a:pt x="3032" y="220"/>
                  </a:moveTo>
                  <a:lnTo>
                    <a:pt x="3032" y="220"/>
                  </a:lnTo>
                  <a:cubicBezTo>
                    <a:pt x="3038" y="220"/>
                    <a:pt x="3043" y="219"/>
                    <a:pt x="3043" y="213"/>
                  </a:cubicBezTo>
                  <a:cubicBezTo>
                    <a:pt x="3043" y="207"/>
                    <a:pt x="3038" y="206"/>
                    <a:pt x="3034" y="206"/>
                  </a:cubicBezTo>
                  <a:lnTo>
                    <a:pt x="3025" y="206"/>
                  </a:lnTo>
                  <a:lnTo>
                    <a:pt x="3025" y="220"/>
                  </a:lnTo>
                  <a:lnTo>
                    <a:pt x="3032" y="220"/>
                  </a:lnTo>
                  <a:lnTo>
                    <a:pt x="3032" y="220"/>
                  </a:lnTo>
                  <a:close/>
                  <a:moveTo>
                    <a:pt x="3021" y="202"/>
                  </a:moveTo>
                  <a:lnTo>
                    <a:pt x="3021" y="202"/>
                  </a:lnTo>
                  <a:lnTo>
                    <a:pt x="3034" y="202"/>
                  </a:lnTo>
                  <a:cubicBezTo>
                    <a:pt x="3042" y="202"/>
                    <a:pt x="3047" y="206"/>
                    <a:pt x="3047" y="213"/>
                  </a:cubicBezTo>
                  <a:cubicBezTo>
                    <a:pt x="3047" y="219"/>
                    <a:pt x="3042" y="223"/>
                    <a:pt x="3037" y="224"/>
                  </a:cubicBezTo>
                  <a:lnTo>
                    <a:pt x="3049" y="241"/>
                  </a:lnTo>
                  <a:lnTo>
                    <a:pt x="3043" y="241"/>
                  </a:lnTo>
                  <a:lnTo>
                    <a:pt x="3033" y="224"/>
                  </a:lnTo>
                  <a:lnTo>
                    <a:pt x="3025" y="224"/>
                  </a:lnTo>
                  <a:lnTo>
                    <a:pt x="3025" y="241"/>
                  </a:lnTo>
                  <a:lnTo>
                    <a:pt x="3021" y="241"/>
                  </a:lnTo>
                  <a:lnTo>
                    <a:pt x="3021" y="202"/>
                  </a:lnTo>
                  <a:lnTo>
                    <a:pt x="3021" y="202"/>
                  </a:lnTo>
                  <a:close/>
                  <a:moveTo>
                    <a:pt x="3033" y="253"/>
                  </a:moveTo>
                  <a:lnTo>
                    <a:pt x="3033" y="253"/>
                  </a:lnTo>
                  <a:cubicBezTo>
                    <a:pt x="3050" y="253"/>
                    <a:pt x="3064" y="239"/>
                    <a:pt x="3064" y="222"/>
                  </a:cubicBezTo>
                  <a:cubicBezTo>
                    <a:pt x="3064" y="205"/>
                    <a:pt x="3050" y="191"/>
                    <a:pt x="3033" y="191"/>
                  </a:cubicBezTo>
                  <a:cubicBezTo>
                    <a:pt x="3016" y="191"/>
                    <a:pt x="3002" y="205"/>
                    <a:pt x="3002" y="222"/>
                  </a:cubicBezTo>
                  <a:cubicBezTo>
                    <a:pt x="3002" y="239"/>
                    <a:pt x="3016" y="253"/>
                    <a:pt x="3033" y="253"/>
                  </a:cubicBezTo>
                  <a:lnTo>
                    <a:pt x="3033" y="253"/>
                  </a:lnTo>
                  <a:close/>
                  <a:moveTo>
                    <a:pt x="3033" y="187"/>
                  </a:moveTo>
                  <a:lnTo>
                    <a:pt x="3033" y="187"/>
                  </a:lnTo>
                  <a:cubicBezTo>
                    <a:pt x="3053" y="187"/>
                    <a:pt x="3068" y="202"/>
                    <a:pt x="3068" y="222"/>
                  </a:cubicBezTo>
                  <a:cubicBezTo>
                    <a:pt x="3068" y="241"/>
                    <a:pt x="3053" y="256"/>
                    <a:pt x="3033" y="256"/>
                  </a:cubicBezTo>
                  <a:cubicBezTo>
                    <a:pt x="3014" y="256"/>
                    <a:pt x="2998" y="241"/>
                    <a:pt x="2998" y="222"/>
                  </a:cubicBezTo>
                  <a:cubicBezTo>
                    <a:pt x="2998" y="202"/>
                    <a:pt x="3014" y="187"/>
                    <a:pt x="3033" y="187"/>
                  </a:cubicBezTo>
                  <a:lnTo>
                    <a:pt x="3033" y="187"/>
                  </a:lnTo>
                  <a:close/>
                  <a:moveTo>
                    <a:pt x="2951" y="420"/>
                  </a:moveTo>
                  <a:lnTo>
                    <a:pt x="2951" y="420"/>
                  </a:lnTo>
                  <a:lnTo>
                    <a:pt x="2951" y="398"/>
                  </a:lnTo>
                  <a:lnTo>
                    <a:pt x="2905" y="398"/>
                  </a:lnTo>
                  <a:cubicBezTo>
                    <a:pt x="2819" y="398"/>
                    <a:pt x="2708" y="410"/>
                    <a:pt x="2708" y="500"/>
                  </a:cubicBezTo>
                  <a:cubicBezTo>
                    <a:pt x="2708" y="565"/>
                    <a:pt x="2766" y="587"/>
                    <a:pt x="2812" y="587"/>
                  </a:cubicBezTo>
                  <a:cubicBezTo>
                    <a:pt x="2913" y="587"/>
                    <a:pt x="2951" y="504"/>
                    <a:pt x="2951" y="420"/>
                  </a:cubicBezTo>
                  <a:lnTo>
                    <a:pt x="2951" y="420"/>
                  </a:lnTo>
                  <a:close/>
                  <a:moveTo>
                    <a:pt x="2678" y="500"/>
                  </a:moveTo>
                  <a:lnTo>
                    <a:pt x="2678" y="500"/>
                  </a:lnTo>
                  <a:cubicBezTo>
                    <a:pt x="2678" y="390"/>
                    <a:pt x="2802" y="374"/>
                    <a:pt x="2897" y="374"/>
                  </a:cubicBezTo>
                  <a:lnTo>
                    <a:pt x="2951" y="374"/>
                  </a:lnTo>
                  <a:lnTo>
                    <a:pt x="2951" y="349"/>
                  </a:lnTo>
                  <a:cubicBezTo>
                    <a:pt x="2951" y="270"/>
                    <a:pt x="2906" y="233"/>
                    <a:pt x="2835" y="233"/>
                  </a:cubicBezTo>
                  <a:cubicBezTo>
                    <a:pt x="2789" y="233"/>
                    <a:pt x="2749" y="251"/>
                    <a:pt x="2719" y="279"/>
                  </a:cubicBezTo>
                  <a:lnTo>
                    <a:pt x="2702" y="257"/>
                  </a:lnTo>
                  <a:cubicBezTo>
                    <a:pt x="2736" y="227"/>
                    <a:pt x="2786" y="208"/>
                    <a:pt x="2836" y="208"/>
                  </a:cubicBezTo>
                  <a:cubicBezTo>
                    <a:pt x="2922" y="208"/>
                    <a:pt x="2980" y="252"/>
                    <a:pt x="2980" y="347"/>
                  </a:cubicBezTo>
                  <a:lnTo>
                    <a:pt x="2980" y="515"/>
                  </a:lnTo>
                  <a:cubicBezTo>
                    <a:pt x="2980" y="544"/>
                    <a:pt x="2983" y="581"/>
                    <a:pt x="2987" y="601"/>
                  </a:cubicBezTo>
                  <a:lnTo>
                    <a:pt x="2959" y="601"/>
                  </a:lnTo>
                  <a:cubicBezTo>
                    <a:pt x="2955" y="581"/>
                    <a:pt x="2953" y="541"/>
                    <a:pt x="2953" y="519"/>
                  </a:cubicBezTo>
                  <a:lnTo>
                    <a:pt x="2950" y="519"/>
                  </a:lnTo>
                  <a:cubicBezTo>
                    <a:pt x="2925" y="583"/>
                    <a:pt x="2869" y="612"/>
                    <a:pt x="2807" y="612"/>
                  </a:cubicBezTo>
                  <a:cubicBezTo>
                    <a:pt x="2746" y="612"/>
                    <a:pt x="2678" y="579"/>
                    <a:pt x="2678" y="500"/>
                  </a:cubicBezTo>
                  <a:lnTo>
                    <a:pt x="2678" y="500"/>
                  </a:lnTo>
                  <a:close/>
                  <a:moveTo>
                    <a:pt x="2304" y="796"/>
                  </a:moveTo>
                  <a:lnTo>
                    <a:pt x="2304" y="796"/>
                  </a:lnTo>
                  <a:lnTo>
                    <a:pt x="2309" y="768"/>
                  </a:lnTo>
                  <a:cubicBezTo>
                    <a:pt x="2319" y="772"/>
                    <a:pt x="2332" y="774"/>
                    <a:pt x="2343" y="774"/>
                  </a:cubicBezTo>
                  <a:cubicBezTo>
                    <a:pt x="2387" y="774"/>
                    <a:pt x="2407" y="739"/>
                    <a:pt x="2421" y="702"/>
                  </a:cubicBezTo>
                  <a:lnTo>
                    <a:pt x="2456" y="609"/>
                  </a:lnTo>
                  <a:lnTo>
                    <a:pt x="2301" y="219"/>
                  </a:lnTo>
                  <a:lnTo>
                    <a:pt x="2334" y="219"/>
                  </a:lnTo>
                  <a:lnTo>
                    <a:pt x="2471" y="576"/>
                  </a:lnTo>
                  <a:lnTo>
                    <a:pt x="2602" y="219"/>
                  </a:lnTo>
                  <a:lnTo>
                    <a:pt x="2634" y="219"/>
                  </a:lnTo>
                  <a:lnTo>
                    <a:pt x="2444" y="719"/>
                  </a:lnTo>
                  <a:cubicBezTo>
                    <a:pt x="2424" y="770"/>
                    <a:pt x="2396" y="801"/>
                    <a:pt x="2343" y="801"/>
                  </a:cubicBezTo>
                  <a:cubicBezTo>
                    <a:pt x="2332" y="801"/>
                    <a:pt x="2315" y="799"/>
                    <a:pt x="2304" y="796"/>
                  </a:cubicBezTo>
                  <a:lnTo>
                    <a:pt x="2304" y="796"/>
                  </a:lnTo>
                  <a:close/>
                  <a:moveTo>
                    <a:pt x="2172" y="219"/>
                  </a:moveTo>
                  <a:lnTo>
                    <a:pt x="2172" y="219"/>
                  </a:lnTo>
                  <a:lnTo>
                    <a:pt x="2202" y="219"/>
                  </a:lnTo>
                  <a:lnTo>
                    <a:pt x="2202" y="601"/>
                  </a:lnTo>
                  <a:lnTo>
                    <a:pt x="2172" y="601"/>
                  </a:lnTo>
                  <a:lnTo>
                    <a:pt x="2172" y="219"/>
                  </a:lnTo>
                  <a:close/>
                  <a:moveTo>
                    <a:pt x="2187" y="86"/>
                  </a:moveTo>
                  <a:lnTo>
                    <a:pt x="2187" y="86"/>
                  </a:lnTo>
                  <a:cubicBezTo>
                    <a:pt x="2174" y="86"/>
                    <a:pt x="2161" y="75"/>
                    <a:pt x="2161" y="59"/>
                  </a:cubicBezTo>
                  <a:cubicBezTo>
                    <a:pt x="2161" y="44"/>
                    <a:pt x="2174" y="32"/>
                    <a:pt x="2187" y="32"/>
                  </a:cubicBezTo>
                  <a:cubicBezTo>
                    <a:pt x="2199" y="32"/>
                    <a:pt x="2212" y="44"/>
                    <a:pt x="2212" y="59"/>
                  </a:cubicBezTo>
                  <a:cubicBezTo>
                    <a:pt x="2212" y="75"/>
                    <a:pt x="2199" y="86"/>
                    <a:pt x="2187" y="86"/>
                  </a:cubicBezTo>
                  <a:lnTo>
                    <a:pt x="2187" y="86"/>
                  </a:lnTo>
                  <a:close/>
                  <a:moveTo>
                    <a:pt x="1869" y="566"/>
                  </a:moveTo>
                  <a:lnTo>
                    <a:pt x="1869" y="566"/>
                  </a:lnTo>
                  <a:lnTo>
                    <a:pt x="1870" y="566"/>
                  </a:lnTo>
                  <a:lnTo>
                    <a:pt x="2080" y="16"/>
                  </a:lnTo>
                  <a:lnTo>
                    <a:pt x="2113" y="16"/>
                  </a:lnTo>
                  <a:lnTo>
                    <a:pt x="1889" y="601"/>
                  </a:lnTo>
                  <a:lnTo>
                    <a:pt x="1850" y="601"/>
                  </a:lnTo>
                  <a:lnTo>
                    <a:pt x="1629" y="16"/>
                  </a:lnTo>
                  <a:lnTo>
                    <a:pt x="1663" y="16"/>
                  </a:lnTo>
                  <a:lnTo>
                    <a:pt x="1869" y="566"/>
                  </a:lnTo>
                  <a:lnTo>
                    <a:pt x="1869" y="566"/>
                  </a:lnTo>
                  <a:close/>
                  <a:moveTo>
                    <a:pt x="1422" y="38"/>
                  </a:moveTo>
                  <a:lnTo>
                    <a:pt x="1422" y="38"/>
                  </a:lnTo>
                  <a:cubicBezTo>
                    <a:pt x="1428" y="38"/>
                    <a:pt x="1433" y="37"/>
                    <a:pt x="1433" y="31"/>
                  </a:cubicBezTo>
                  <a:cubicBezTo>
                    <a:pt x="1433" y="25"/>
                    <a:pt x="1428" y="24"/>
                    <a:pt x="1424" y="24"/>
                  </a:cubicBezTo>
                  <a:lnTo>
                    <a:pt x="1415" y="24"/>
                  </a:lnTo>
                  <a:lnTo>
                    <a:pt x="1415" y="38"/>
                  </a:lnTo>
                  <a:lnTo>
                    <a:pt x="1422" y="38"/>
                  </a:lnTo>
                  <a:lnTo>
                    <a:pt x="1422" y="38"/>
                  </a:lnTo>
                  <a:close/>
                  <a:moveTo>
                    <a:pt x="1411" y="20"/>
                  </a:moveTo>
                  <a:lnTo>
                    <a:pt x="1411" y="20"/>
                  </a:lnTo>
                  <a:lnTo>
                    <a:pt x="1424" y="20"/>
                  </a:lnTo>
                  <a:cubicBezTo>
                    <a:pt x="1432" y="20"/>
                    <a:pt x="1437" y="23"/>
                    <a:pt x="1437" y="31"/>
                  </a:cubicBezTo>
                  <a:cubicBezTo>
                    <a:pt x="1437" y="37"/>
                    <a:pt x="1432" y="41"/>
                    <a:pt x="1427" y="41"/>
                  </a:cubicBezTo>
                  <a:lnTo>
                    <a:pt x="1439" y="59"/>
                  </a:lnTo>
                  <a:lnTo>
                    <a:pt x="1433" y="59"/>
                  </a:lnTo>
                  <a:lnTo>
                    <a:pt x="1422" y="42"/>
                  </a:lnTo>
                  <a:lnTo>
                    <a:pt x="1415" y="42"/>
                  </a:lnTo>
                  <a:lnTo>
                    <a:pt x="1415" y="59"/>
                  </a:lnTo>
                  <a:lnTo>
                    <a:pt x="1411" y="59"/>
                  </a:lnTo>
                  <a:lnTo>
                    <a:pt x="1411" y="20"/>
                  </a:lnTo>
                  <a:lnTo>
                    <a:pt x="1411" y="20"/>
                  </a:lnTo>
                  <a:close/>
                  <a:moveTo>
                    <a:pt x="1423" y="71"/>
                  </a:moveTo>
                  <a:lnTo>
                    <a:pt x="1423" y="71"/>
                  </a:lnTo>
                  <a:cubicBezTo>
                    <a:pt x="1440" y="71"/>
                    <a:pt x="1454" y="57"/>
                    <a:pt x="1454" y="40"/>
                  </a:cubicBezTo>
                  <a:cubicBezTo>
                    <a:pt x="1454" y="22"/>
                    <a:pt x="1440" y="9"/>
                    <a:pt x="1423" y="9"/>
                  </a:cubicBezTo>
                  <a:cubicBezTo>
                    <a:pt x="1406" y="9"/>
                    <a:pt x="1392" y="22"/>
                    <a:pt x="1392" y="40"/>
                  </a:cubicBezTo>
                  <a:cubicBezTo>
                    <a:pt x="1392" y="57"/>
                    <a:pt x="1406" y="71"/>
                    <a:pt x="1423" y="71"/>
                  </a:cubicBezTo>
                  <a:lnTo>
                    <a:pt x="1423" y="71"/>
                  </a:lnTo>
                  <a:close/>
                  <a:moveTo>
                    <a:pt x="1423" y="5"/>
                  </a:moveTo>
                  <a:lnTo>
                    <a:pt x="1423" y="5"/>
                  </a:lnTo>
                  <a:cubicBezTo>
                    <a:pt x="1442" y="5"/>
                    <a:pt x="1458" y="20"/>
                    <a:pt x="1458" y="40"/>
                  </a:cubicBezTo>
                  <a:cubicBezTo>
                    <a:pt x="1458" y="59"/>
                    <a:pt x="1442" y="74"/>
                    <a:pt x="1423" y="74"/>
                  </a:cubicBezTo>
                  <a:cubicBezTo>
                    <a:pt x="1404" y="74"/>
                    <a:pt x="1388" y="59"/>
                    <a:pt x="1388" y="40"/>
                  </a:cubicBezTo>
                  <a:cubicBezTo>
                    <a:pt x="1388" y="20"/>
                    <a:pt x="1404" y="5"/>
                    <a:pt x="1423" y="5"/>
                  </a:cubicBezTo>
                  <a:lnTo>
                    <a:pt x="1423" y="5"/>
                  </a:lnTo>
                  <a:close/>
                  <a:moveTo>
                    <a:pt x="1319" y="87"/>
                  </a:moveTo>
                  <a:lnTo>
                    <a:pt x="1319" y="87"/>
                  </a:lnTo>
                  <a:cubicBezTo>
                    <a:pt x="1291" y="50"/>
                    <a:pt x="1243" y="27"/>
                    <a:pt x="1187" y="27"/>
                  </a:cubicBezTo>
                  <a:cubicBezTo>
                    <a:pt x="1114" y="27"/>
                    <a:pt x="1037" y="69"/>
                    <a:pt x="1037" y="155"/>
                  </a:cubicBezTo>
                  <a:cubicBezTo>
                    <a:pt x="1037" y="337"/>
                    <a:pt x="1353" y="256"/>
                    <a:pt x="1353" y="457"/>
                  </a:cubicBezTo>
                  <a:cubicBezTo>
                    <a:pt x="1353" y="562"/>
                    <a:pt x="1267" y="617"/>
                    <a:pt x="1172" y="617"/>
                  </a:cubicBezTo>
                  <a:cubicBezTo>
                    <a:pt x="1100" y="617"/>
                    <a:pt x="1037" y="590"/>
                    <a:pt x="996" y="542"/>
                  </a:cubicBezTo>
                  <a:lnTo>
                    <a:pt x="1017" y="521"/>
                  </a:lnTo>
                  <a:cubicBezTo>
                    <a:pt x="1059" y="565"/>
                    <a:pt x="1111" y="589"/>
                    <a:pt x="1172" y="589"/>
                  </a:cubicBezTo>
                  <a:cubicBezTo>
                    <a:pt x="1249" y="589"/>
                    <a:pt x="1322" y="543"/>
                    <a:pt x="1322" y="458"/>
                  </a:cubicBezTo>
                  <a:cubicBezTo>
                    <a:pt x="1322" y="279"/>
                    <a:pt x="1006" y="359"/>
                    <a:pt x="1006" y="155"/>
                  </a:cubicBezTo>
                  <a:cubicBezTo>
                    <a:pt x="1006" y="53"/>
                    <a:pt x="1095" y="0"/>
                    <a:pt x="1188" y="0"/>
                  </a:cubicBezTo>
                  <a:cubicBezTo>
                    <a:pt x="1253" y="0"/>
                    <a:pt x="1310" y="26"/>
                    <a:pt x="1342" y="67"/>
                  </a:cubicBezTo>
                  <a:lnTo>
                    <a:pt x="1319" y="87"/>
                  </a:lnTo>
                  <a:lnTo>
                    <a:pt x="1319" y="87"/>
                  </a:lnTo>
                  <a:close/>
                  <a:moveTo>
                    <a:pt x="526" y="410"/>
                  </a:moveTo>
                  <a:lnTo>
                    <a:pt x="526" y="410"/>
                  </a:lnTo>
                  <a:lnTo>
                    <a:pt x="832" y="410"/>
                  </a:lnTo>
                  <a:lnTo>
                    <a:pt x="680" y="44"/>
                  </a:lnTo>
                  <a:lnTo>
                    <a:pt x="526" y="410"/>
                  </a:lnTo>
                  <a:lnTo>
                    <a:pt x="526" y="410"/>
                  </a:lnTo>
                  <a:close/>
                  <a:moveTo>
                    <a:pt x="445" y="601"/>
                  </a:moveTo>
                  <a:lnTo>
                    <a:pt x="445" y="601"/>
                  </a:lnTo>
                  <a:lnTo>
                    <a:pt x="412" y="601"/>
                  </a:lnTo>
                  <a:lnTo>
                    <a:pt x="665" y="16"/>
                  </a:lnTo>
                  <a:lnTo>
                    <a:pt x="699" y="16"/>
                  </a:lnTo>
                  <a:lnTo>
                    <a:pt x="945" y="601"/>
                  </a:lnTo>
                  <a:lnTo>
                    <a:pt x="911" y="601"/>
                  </a:lnTo>
                  <a:lnTo>
                    <a:pt x="843" y="437"/>
                  </a:lnTo>
                  <a:lnTo>
                    <a:pt x="514" y="437"/>
                  </a:lnTo>
                  <a:lnTo>
                    <a:pt x="445" y="601"/>
                  </a:lnTo>
                  <a:lnTo>
                    <a:pt x="445" y="601"/>
                  </a:lnTo>
                  <a:close/>
                  <a:moveTo>
                    <a:pt x="322" y="87"/>
                  </a:moveTo>
                  <a:lnTo>
                    <a:pt x="322" y="87"/>
                  </a:lnTo>
                  <a:cubicBezTo>
                    <a:pt x="294" y="50"/>
                    <a:pt x="246" y="27"/>
                    <a:pt x="191" y="27"/>
                  </a:cubicBezTo>
                  <a:cubicBezTo>
                    <a:pt x="118" y="27"/>
                    <a:pt x="40" y="69"/>
                    <a:pt x="40" y="155"/>
                  </a:cubicBezTo>
                  <a:cubicBezTo>
                    <a:pt x="40" y="337"/>
                    <a:pt x="357" y="256"/>
                    <a:pt x="357" y="457"/>
                  </a:cubicBezTo>
                  <a:cubicBezTo>
                    <a:pt x="357" y="562"/>
                    <a:pt x="270" y="617"/>
                    <a:pt x="175" y="617"/>
                  </a:cubicBezTo>
                  <a:cubicBezTo>
                    <a:pt x="103" y="617"/>
                    <a:pt x="40" y="590"/>
                    <a:pt x="0" y="542"/>
                  </a:cubicBezTo>
                  <a:lnTo>
                    <a:pt x="20" y="521"/>
                  </a:lnTo>
                  <a:cubicBezTo>
                    <a:pt x="63" y="565"/>
                    <a:pt x="115" y="589"/>
                    <a:pt x="175" y="589"/>
                  </a:cubicBezTo>
                  <a:cubicBezTo>
                    <a:pt x="253" y="589"/>
                    <a:pt x="326" y="543"/>
                    <a:pt x="326" y="458"/>
                  </a:cubicBezTo>
                  <a:cubicBezTo>
                    <a:pt x="326" y="279"/>
                    <a:pt x="10" y="359"/>
                    <a:pt x="10" y="155"/>
                  </a:cubicBezTo>
                  <a:cubicBezTo>
                    <a:pt x="10" y="53"/>
                    <a:pt x="98" y="0"/>
                    <a:pt x="192" y="0"/>
                  </a:cubicBezTo>
                  <a:cubicBezTo>
                    <a:pt x="257" y="0"/>
                    <a:pt x="313" y="26"/>
                    <a:pt x="345" y="67"/>
                  </a:cubicBezTo>
                  <a:lnTo>
                    <a:pt x="322"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ya - Case Study Only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43" name="Rectangle 42"/>
          <p:cNvSpPr/>
          <p:nvPr userDrawn="1"/>
        </p:nvSpPr>
        <p:spPr>
          <a:xfrm>
            <a:off x="6507280" y="37609"/>
            <a:ext cx="263672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192024"/>
            <a:ext cx="6510269" cy="429768"/>
          </a:xfrm>
        </p:spPr>
        <p:txBody>
          <a:bodyPr lIns="182880" rIns="182880"/>
          <a:lstStyle>
            <a:lvl1pPr algn="ctr">
              <a:defRPr sz="2200" baseline="0">
                <a:latin typeface="+mj-lt"/>
              </a:defRPr>
            </a:lvl1pPr>
          </a:lstStyle>
          <a:p>
            <a:r>
              <a:rPr lang="en-US" dirty="0"/>
              <a:t>Customer Success - Click to Edit Title</a:t>
            </a:r>
          </a:p>
        </p:txBody>
      </p:sp>
      <p:sp>
        <p:nvSpPr>
          <p:cNvPr id="21" name="Text Placeholder 2"/>
          <p:cNvSpPr>
            <a:spLocks noGrp="1"/>
          </p:cNvSpPr>
          <p:nvPr>
            <p:ph type="body" sz="quarter" idx="11" hasCustomPrompt="1"/>
          </p:nvPr>
        </p:nvSpPr>
        <p:spPr>
          <a:xfrm>
            <a:off x="6510270" y="1018333"/>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514"/>
            <a:ext cx="6510270" cy="4085003"/>
          </a:xfrm>
        </p:spPr>
        <p:txBody>
          <a:bodyPr wrap="square" lIns="365760" rIns="274320" anchor="t">
            <a:normAutofit/>
          </a:bodyPr>
          <a:lstStyle>
            <a:lvl1pPr>
              <a:defRPr sz="2000" baseline="0">
                <a:latin typeface="+mn-lt"/>
              </a:defRPr>
            </a:lvl1pPr>
            <a:lvl2pPr>
              <a:defRPr sz="1800" baseline="0">
                <a:latin typeface="+mn-lt"/>
              </a:defRPr>
            </a:lvl2pPr>
            <a:lvl3pPr>
              <a:defRPr sz="1600"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1575122"/>
            <a:ext cx="2448000" cy="2068474"/>
          </a:xfrm>
        </p:spPr>
        <p:txBody>
          <a:bodyPr wrap="square" anchor="t">
            <a:normAutofit/>
          </a:bodyPr>
          <a:lstStyle>
            <a:lvl1pPr marL="0" indent="-182880">
              <a:lnSpc>
                <a:spcPct val="85000"/>
              </a:lnSpc>
              <a:buFont typeface="Arial" pitchFamily="34" charset="0"/>
              <a:buNone/>
              <a:defRPr sz="16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norm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4"/>
            <a:ext cx="2450592" cy="502920"/>
          </a:xfrm>
        </p:spPr>
        <p:txBody>
          <a:bodyPr wrap="square" anchor="t">
            <a:norm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sp>
        <p:nvSpPr>
          <p:cNvPr id="8" name="Text Placeholder 7"/>
          <p:cNvSpPr>
            <a:spLocks noGrp="1"/>
          </p:cNvSpPr>
          <p:nvPr>
            <p:ph type="body" sz="quarter" idx="19" hasCustomPrompt="1"/>
          </p:nvPr>
        </p:nvSpPr>
        <p:spPr>
          <a:xfrm>
            <a:off x="6507280" y="4735984"/>
            <a:ext cx="1484986" cy="292100"/>
          </a:xfrm>
        </p:spPr>
        <p:txBody>
          <a:bodyPr anchor="ctr" anchorCtr="0">
            <a:noAutofit/>
          </a:bodyPr>
          <a:lstStyle>
            <a:lvl1pPr marL="0" indent="0">
              <a:buNone/>
              <a:defRPr sz="1200" baseline="0">
                <a:solidFill>
                  <a:schemeClr val="bg1"/>
                </a:solidFill>
                <a:latin typeface="+mn-lt"/>
              </a:defRPr>
            </a:lvl1pPr>
          </a:lstStyle>
          <a:p>
            <a:pPr lvl="0"/>
            <a:r>
              <a:rPr lang="en-US" dirty="0"/>
              <a:t>Partner Name</a:t>
            </a:r>
          </a:p>
        </p:txBody>
      </p:sp>
      <p:sp>
        <p:nvSpPr>
          <p:cNvPr id="10" name="Text Placeholder 9"/>
          <p:cNvSpPr>
            <a:spLocks noGrp="1"/>
          </p:cNvSpPr>
          <p:nvPr>
            <p:ph type="body" sz="quarter" idx="20" hasCustomPrompt="1"/>
          </p:nvPr>
        </p:nvSpPr>
        <p:spPr>
          <a:xfrm>
            <a:off x="1" y="4728518"/>
            <a:ext cx="6510268" cy="184150"/>
          </a:xfrm>
        </p:spPr>
        <p:txBody>
          <a:bodyPr>
            <a:noAutofit/>
          </a:bodyPr>
          <a:lstStyle>
            <a:lvl1pPr marL="0" indent="0" algn="ctr">
              <a:buNone/>
              <a:defRPr sz="1200" baseline="0"/>
            </a:lvl1pPr>
            <a:lvl2pPr marL="182880" indent="0">
              <a:buNone/>
              <a:defRPr/>
            </a:lvl2pPr>
            <a:lvl3pPr marL="365760" indent="0">
              <a:buNone/>
              <a:defRPr/>
            </a:lvl3pPr>
            <a:lvl4pPr marL="548640" indent="0">
              <a:buNone/>
              <a:defRPr/>
            </a:lvl4pPr>
            <a:lvl5pPr marL="731520" indent="0">
              <a:buNone/>
              <a:defRPr/>
            </a:lvl5pPr>
          </a:lstStyle>
          <a:p>
            <a:pPr lvl="0"/>
            <a:r>
              <a:rPr lang="en-US" dirty="0"/>
              <a:t>Click to add URL to online story</a:t>
            </a:r>
          </a:p>
        </p:txBody>
      </p:sp>
      <p:sp>
        <p:nvSpPr>
          <p:cNvPr id="42"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grpSp>
        <p:nvGrpSpPr>
          <p:cNvPr id="44" name="Group 43"/>
          <p:cNvGrpSpPr>
            <a:grpSpLocks noChangeAspect="1"/>
          </p:cNvGrpSpPr>
          <p:nvPr userDrawn="1"/>
        </p:nvGrpSpPr>
        <p:grpSpPr>
          <a:xfrm>
            <a:off x="7966654" y="140452"/>
            <a:ext cx="914400" cy="636169"/>
            <a:chOff x="3100388" y="1555751"/>
            <a:chExt cx="2932113" cy="2039938"/>
          </a:xfrm>
          <a:solidFill>
            <a:schemeClr val="bg1"/>
          </a:solidFill>
        </p:grpSpPr>
        <p:grpSp>
          <p:nvGrpSpPr>
            <p:cNvPr id="45" name="Group 44"/>
            <p:cNvGrpSpPr/>
            <p:nvPr userDrawn="1"/>
          </p:nvGrpSpPr>
          <p:grpSpPr>
            <a:xfrm>
              <a:off x="3100388" y="2832101"/>
              <a:ext cx="2932113" cy="763588"/>
              <a:chOff x="3100388" y="2832101"/>
              <a:chExt cx="2932113" cy="763588"/>
            </a:xfrm>
            <a:grpFill/>
          </p:grpSpPr>
          <p:sp>
            <p:nvSpPr>
              <p:cNvPr id="49" name="Freeform 19"/>
              <p:cNvSpPr>
                <a:spLocks/>
              </p:cNvSpPr>
              <p:nvPr userDrawn="1"/>
            </p:nvSpPr>
            <p:spPr bwMode="auto">
              <a:xfrm>
                <a:off x="3100388" y="2832101"/>
                <a:ext cx="339725" cy="588963"/>
              </a:xfrm>
              <a:custGeom>
                <a:avLst/>
                <a:gdLst>
                  <a:gd name="T0" fmla="*/ 269 w 428"/>
                  <a:gd name="T1" fmla="*/ 2 h 741"/>
                  <a:gd name="T2" fmla="*/ 337 w 428"/>
                  <a:gd name="T3" fmla="*/ 21 h 741"/>
                  <a:gd name="T4" fmla="*/ 393 w 428"/>
                  <a:gd name="T5" fmla="*/ 57 h 741"/>
                  <a:gd name="T6" fmla="*/ 387 w 428"/>
                  <a:gd name="T7" fmla="*/ 105 h 741"/>
                  <a:gd name="T8" fmla="*/ 346 w 428"/>
                  <a:gd name="T9" fmla="*/ 66 h 741"/>
                  <a:gd name="T10" fmla="*/ 292 w 428"/>
                  <a:gd name="T11" fmla="*/ 42 h 741"/>
                  <a:gd name="T12" fmla="*/ 229 w 428"/>
                  <a:gd name="T13" fmla="*/ 33 h 741"/>
                  <a:gd name="T14" fmla="*/ 176 w 428"/>
                  <a:gd name="T15" fmla="*/ 38 h 741"/>
                  <a:gd name="T16" fmla="*/ 128 w 428"/>
                  <a:gd name="T17" fmla="*/ 57 h 741"/>
                  <a:gd name="T18" fmla="*/ 87 w 428"/>
                  <a:gd name="T19" fmla="*/ 88 h 741"/>
                  <a:gd name="T20" fmla="*/ 58 w 428"/>
                  <a:gd name="T21" fmla="*/ 131 h 741"/>
                  <a:gd name="T22" fmla="*/ 48 w 428"/>
                  <a:gd name="T23" fmla="*/ 186 h 741"/>
                  <a:gd name="T24" fmla="*/ 57 w 428"/>
                  <a:gd name="T25" fmla="*/ 238 h 741"/>
                  <a:gd name="T26" fmla="*/ 82 w 428"/>
                  <a:gd name="T27" fmla="*/ 278 h 741"/>
                  <a:gd name="T28" fmla="*/ 118 w 428"/>
                  <a:gd name="T29" fmla="*/ 307 h 741"/>
                  <a:gd name="T30" fmla="*/ 163 w 428"/>
                  <a:gd name="T31" fmla="*/ 330 h 741"/>
                  <a:gd name="T32" fmla="*/ 212 w 428"/>
                  <a:gd name="T33" fmla="*/ 349 h 741"/>
                  <a:gd name="T34" fmla="*/ 264 w 428"/>
                  <a:gd name="T35" fmla="*/ 368 h 741"/>
                  <a:gd name="T36" fmla="*/ 315 w 428"/>
                  <a:gd name="T37" fmla="*/ 389 h 741"/>
                  <a:gd name="T38" fmla="*/ 358 w 428"/>
                  <a:gd name="T39" fmla="*/ 413 h 741"/>
                  <a:gd name="T40" fmla="*/ 396 w 428"/>
                  <a:gd name="T41" fmla="*/ 446 h 741"/>
                  <a:gd name="T42" fmla="*/ 419 w 428"/>
                  <a:gd name="T43" fmla="*/ 491 h 741"/>
                  <a:gd name="T44" fmla="*/ 428 w 428"/>
                  <a:gd name="T45" fmla="*/ 549 h 741"/>
                  <a:gd name="T46" fmla="*/ 418 w 428"/>
                  <a:gd name="T47" fmla="*/ 612 h 741"/>
                  <a:gd name="T48" fmla="*/ 391 w 428"/>
                  <a:gd name="T49" fmla="*/ 662 h 741"/>
                  <a:gd name="T50" fmla="*/ 351 w 428"/>
                  <a:gd name="T51" fmla="*/ 701 h 741"/>
                  <a:gd name="T52" fmla="*/ 299 w 428"/>
                  <a:gd name="T53" fmla="*/ 727 h 741"/>
                  <a:gd name="T54" fmla="*/ 240 w 428"/>
                  <a:gd name="T55" fmla="*/ 740 h 741"/>
                  <a:gd name="T56" fmla="*/ 169 w 428"/>
                  <a:gd name="T57" fmla="*/ 739 h 741"/>
                  <a:gd name="T58" fmla="*/ 91 w 428"/>
                  <a:gd name="T59" fmla="*/ 719 h 741"/>
                  <a:gd name="T60" fmla="*/ 27 w 428"/>
                  <a:gd name="T61" fmla="*/ 678 h 741"/>
                  <a:gd name="T62" fmla="*/ 25 w 428"/>
                  <a:gd name="T63" fmla="*/ 626 h 741"/>
                  <a:gd name="T64" fmla="*/ 80 w 428"/>
                  <a:gd name="T65" fmla="*/ 670 h 741"/>
                  <a:gd name="T66" fmla="*/ 142 w 428"/>
                  <a:gd name="T67" fmla="*/ 698 h 741"/>
                  <a:gd name="T68" fmla="*/ 210 w 428"/>
                  <a:gd name="T69" fmla="*/ 707 h 741"/>
                  <a:gd name="T70" fmla="*/ 265 w 428"/>
                  <a:gd name="T71" fmla="*/ 701 h 741"/>
                  <a:gd name="T72" fmla="*/ 313 w 428"/>
                  <a:gd name="T73" fmla="*/ 681 h 741"/>
                  <a:gd name="T74" fmla="*/ 354 w 428"/>
                  <a:gd name="T75" fmla="*/ 650 h 741"/>
                  <a:gd name="T76" fmla="*/ 381 w 428"/>
                  <a:gd name="T77" fmla="*/ 606 h 741"/>
                  <a:gd name="T78" fmla="*/ 391 w 428"/>
                  <a:gd name="T79" fmla="*/ 551 h 741"/>
                  <a:gd name="T80" fmla="*/ 382 w 428"/>
                  <a:gd name="T81" fmla="*/ 499 h 741"/>
                  <a:gd name="T82" fmla="*/ 357 w 428"/>
                  <a:gd name="T83" fmla="*/ 460 h 741"/>
                  <a:gd name="T84" fmla="*/ 321 w 428"/>
                  <a:gd name="T85" fmla="*/ 430 h 741"/>
                  <a:gd name="T86" fmla="*/ 276 w 428"/>
                  <a:gd name="T87" fmla="*/ 408 h 741"/>
                  <a:gd name="T88" fmla="*/ 227 w 428"/>
                  <a:gd name="T89" fmla="*/ 389 h 741"/>
                  <a:gd name="T90" fmla="*/ 175 w 428"/>
                  <a:gd name="T91" fmla="*/ 371 h 741"/>
                  <a:gd name="T92" fmla="*/ 126 w 428"/>
                  <a:gd name="T93" fmla="*/ 349 h 741"/>
                  <a:gd name="T94" fmla="*/ 81 w 428"/>
                  <a:gd name="T95" fmla="*/ 324 h 741"/>
                  <a:gd name="T96" fmla="*/ 45 w 428"/>
                  <a:gd name="T97" fmla="*/ 291 h 741"/>
                  <a:gd name="T98" fmla="*/ 20 w 428"/>
                  <a:gd name="T99" fmla="*/ 245 h 741"/>
                  <a:gd name="T100" fmla="*/ 12 w 428"/>
                  <a:gd name="T101" fmla="*/ 187 h 741"/>
                  <a:gd name="T102" fmla="*/ 21 w 428"/>
                  <a:gd name="T103" fmla="*/ 125 h 741"/>
                  <a:gd name="T104" fmla="*/ 49 w 428"/>
                  <a:gd name="T105" fmla="*/ 76 h 741"/>
                  <a:gd name="T106" fmla="*/ 90 w 428"/>
                  <a:gd name="T107" fmla="*/ 39 h 741"/>
                  <a:gd name="T108" fmla="*/ 142 w 428"/>
                  <a:gd name="T109" fmla="*/ 14 h 741"/>
                  <a:gd name="T110" fmla="*/ 200 w 428"/>
                  <a:gd name="T111" fmla="*/ 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8" h="741">
                    <a:moveTo>
                      <a:pt x="230" y="0"/>
                    </a:moveTo>
                    <a:lnTo>
                      <a:pt x="269" y="2"/>
                    </a:lnTo>
                    <a:lnTo>
                      <a:pt x="305" y="10"/>
                    </a:lnTo>
                    <a:lnTo>
                      <a:pt x="337" y="21"/>
                    </a:lnTo>
                    <a:lnTo>
                      <a:pt x="366" y="37"/>
                    </a:lnTo>
                    <a:lnTo>
                      <a:pt x="393" y="57"/>
                    </a:lnTo>
                    <a:lnTo>
                      <a:pt x="415" y="80"/>
                    </a:lnTo>
                    <a:lnTo>
                      <a:pt x="387" y="105"/>
                    </a:lnTo>
                    <a:lnTo>
                      <a:pt x="367" y="83"/>
                    </a:lnTo>
                    <a:lnTo>
                      <a:pt x="346" y="66"/>
                    </a:lnTo>
                    <a:lnTo>
                      <a:pt x="320" y="52"/>
                    </a:lnTo>
                    <a:lnTo>
                      <a:pt x="292" y="42"/>
                    </a:lnTo>
                    <a:lnTo>
                      <a:pt x="262" y="35"/>
                    </a:lnTo>
                    <a:lnTo>
                      <a:pt x="229" y="33"/>
                    </a:lnTo>
                    <a:lnTo>
                      <a:pt x="202" y="34"/>
                    </a:lnTo>
                    <a:lnTo>
                      <a:pt x="176" y="38"/>
                    </a:lnTo>
                    <a:lnTo>
                      <a:pt x="152" y="46"/>
                    </a:lnTo>
                    <a:lnTo>
                      <a:pt x="128" y="57"/>
                    </a:lnTo>
                    <a:lnTo>
                      <a:pt x="106" y="71"/>
                    </a:lnTo>
                    <a:lnTo>
                      <a:pt x="87" y="88"/>
                    </a:lnTo>
                    <a:lnTo>
                      <a:pt x="71" y="107"/>
                    </a:lnTo>
                    <a:lnTo>
                      <a:pt x="58" y="131"/>
                    </a:lnTo>
                    <a:lnTo>
                      <a:pt x="52" y="156"/>
                    </a:lnTo>
                    <a:lnTo>
                      <a:pt x="48" y="186"/>
                    </a:lnTo>
                    <a:lnTo>
                      <a:pt x="51" y="214"/>
                    </a:lnTo>
                    <a:lnTo>
                      <a:pt x="57" y="238"/>
                    </a:lnTo>
                    <a:lnTo>
                      <a:pt x="67" y="259"/>
                    </a:lnTo>
                    <a:lnTo>
                      <a:pt x="82" y="278"/>
                    </a:lnTo>
                    <a:lnTo>
                      <a:pt x="99" y="294"/>
                    </a:lnTo>
                    <a:lnTo>
                      <a:pt x="118" y="307"/>
                    </a:lnTo>
                    <a:lnTo>
                      <a:pt x="139" y="320"/>
                    </a:lnTo>
                    <a:lnTo>
                      <a:pt x="163" y="330"/>
                    </a:lnTo>
                    <a:lnTo>
                      <a:pt x="188" y="340"/>
                    </a:lnTo>
                    <a:lnTo>
                      <a:pt x="212" y="349"/>
                    </a:lnTo>
                    <a:lnTo>
                      <a:pt x="238" y="358"/>
                    </a:lnTo>
                    <a:lnTo>
                      <a:pt x="264" y="368"/>
                    </a:lnTo>
                    <a:lnTo>
                      <a:pt x="290" y="377"/>
                    </a:lnTo>
                    <a:lnTo>
                      <a:pt x="315" y="389"/>
                    </a:lnTo>
                    <a:lnTo>
                      <a:pt x="337" y="400"/>
                    </a:lnTo>
                    <a:lnTo>
                      <a:pt x="358" y="413"/>
                    </a:lnTo>
                    <a:lnTo>
                      <a:pt x="379" y="429"/>
                    </a:lnTo>
                    <a:lnTo>
                      <a:pt x="396" y="446"/>
                    </a:lnTo>
                    <a:lnTo>
                      <a:pt x="409" y="467"/>
                    </a:lnTo>
                    <a:lnTo>
                      <a:pt x="419" y="491"/>
                    </a:lnTo>
                    <a:lnTo>
                      <a:pt x="426" y="518"/>
                    </a:lnTo>
                    <a:lnTo>
                      <a:pt x="428" y="549"/>
                    </a:lnTo>
                    <a:lnTo>
                      <a:pt x="426" y="581"/>
                    </a:lnTo>
                    <a:lnTo>
                      <a:pt x="418" y="612"/>
                    </a:lnTo>
                    <a:lnTo>
                      <a:pt x="407" y="639"/>
                    </a:lnTo>
                    <a:lnTo>
                      <a:pt x="391" y="662"/>
                    </a:lnTo>
                    <a:lnTo>
                      <a:pt x="373" y="684"/>
                    </a:lnTo>
                    <a:lnTo>
                      <a:pt x="351" y="701"/>
                    </a:lnTo>
                    <a:lnTo>
                      <a:pt x="326" y="715"/>
                    </a:lnTo>
                    <a:lnTo>
                      <a:pt x="299" y="727"/>
                    </a:lnTo>
                    <a:lnTo>
                      <a:pt x="271" y="734"/>
                    </a:lnTo>
                    <a:lnTo>
                      <a:pt x="240" y="740"/>
                    </a:lnTo>
                    <a:lnTo>
                      <a:pt x="210" y="741"/>
                    </a:lnTo>
                    <a:lnTo>
                      <a:pt x="169" y="739"/>
                    </a:lnTo>
                    <a:lnTo>
                      <a:pt x="128" y="731"/>
                    </a:lnTo>
                    <a:lnTo>
                      <a:pt x="91" y="719"/>
                    </a:lnTo>
                    <a:lnTo>
                      <a:pt x="57" y="701"/>
                    </a:lnTo>
                    <a:lnTo>
                      <a:pt x="27" y="678"/>
                    </a:lnTo>
                    <a:lnTo>
                      <a:pt x="0" y="651"/>
                    </a:lnTo>
                    <a:lnTo>
                      <a:pt x="25" y="626"/>
                    </a:lnTo>
                    <a:lnTo>
                      <a:pt x="51" y="650"/>
                    </a:lnTo>
                    <a:lnTo>
                      <a:pt x="80" y="670"/>
                    </a:lnTo>
                    <a:lnTo>
                      <a:pt x="109" y="687"/>
                    </a:lnTo>
                    <a:lnTo>
                      <a:pt x="142" y="698"/>
                    </a:lnTo>
                    <a:lnTo>
                      <a:pt x="175" y="705"/>
                    </a:lnTo>
                    <a:lnTo>
                      <a:pt x="210" y="707"/>
                    </a:lnTo>
                    <a:lnTo>
                      <a:pt x="238" y="706"/>
                    </a:lnTo>
                    <a:lnTo>
                      <a:pt x="265" y="701"/>
                    </a:lnTo>
                    <a:lnTo>
                      <a:pt x="290" y="693"/>
                    </a:lnTo>
                    <a:lnTo>
                      <a:pt x="313" y="681"/>
                    </a:lnTo>
                    <a:lnTo>
                      <a:pt x="335" y="667"/>
                    </a:lnTo>
                    <a:lnTo>
                      <a:pt x="354" y="650"/>
                    </a:lnTo>
                    <a:lnTo>
                      <a:pt x="370" y="630"/>
                    </a:lnTo>
                    <a:lnTo>
                      <a:pt x="381" y="606"/>
                    </a:lnTo>
                    <a:lnTo>
                      <a:pt x="388" y="580"/>
                    </a:lnTo>
                    <a:lnTo>
                      <a:pt x="391" y="551"/>
                    </a:lnTo>
                    <a:lnTo>
                      <a:pt x="389" y="523"/>
                    </a:lnTo>
                    <a:lnTo>
                      <a:pt x="382" y="499"/>
                    </a:lnTo>
                    <a:lnTo>
                      <a:pt x="372" y="478"/>
                    </a:lnTo>
                    <a:lnTo>
                      <a:pt x="357" y="460"/>
                    </a:lnTo>
                    <a:lnTo>
                      <a:pt x="340" y="444"/>
                    </a:lnTo>
                    <a:lnTo>
                      <a:pt x="321" y="430"/>
                    </a:lnTo>
                    <a:lnTo>
                      <a:pt x="300" y="419"/>
                    </a:lnTo>
                    <a:lnTo>
                      <a:pt x="276" y="408"/>
                    </a:lnTo>
                    <a:lnTo>
                      <a:pt x="253" y="398"/>
                    </a:lnTo>
                    <a:lnTo>
                      <a:pt x="227" y="389"/>
                    </a:lnTo>
                    <a:lnTo>
                      <a:pt x="201" y="380"/>
                    </a:lnTo>
                    <a:lnTo>
                      <a:pt x="175" y="371"/>
                    </a:lnTo>
                    <a:lnTo>
                      <a:pt x="151" y="360"/>
                    </a:lnTo>
                    <a:lnTo>
                      <a:pt x="126" y="349"/>
                    </a:lnTo>
                    <a:lnTo>
                      <a:pt x="102" y="338"/>
                    </a:lnTo>
                    <a:lnTo>
                      <a:pt x="81" y="324"/>
                    </a:lnTo>
                    <a:lnTo>
                      <a:pt x="62" y="309"/>
                    </a:lnTo>
                    <a:lnTo>
                      <a:pt x="45" y="291"/>
                    </a:lnTo>
                    <a:lnTo>
                      <a:pt x="31" y="269"/>
                    </a:lnTo>
                    <a:lnTo>
                      <a:pt x="20" y="245"/>
                    </a:lnTo>
                    <a:lnTo>
                      <a:pt x="15" y="218"/>
                    </a:lnTo>
                    <a:lnTo>
                      <a:pt x="12" y="187"/>
                    </a:lnTo>
                    <a:lnTo>
                      <a:pt x="15" y="154"/>
                    </a:lnTo>
                    <a:lnTo>
                      <a:pt x="21" y="125"/>
                    </a:lnTo>
                    <a:lnTo>
                      <a:pt x="34" y="99"/>
                    </a:lnTo>
                    <a:lnTo>
                      <a:pt x="49" y="76"/>
                    </a:lnTo>
                    <a:lnTo>
                      <a:pt x="69" y="56"/>
                    </a:lnTo>
                    <a:lnTo>
                      <a:pt x="90" y="39"/>
                    </a:lnTo>
                    <a:lnTo>
                      <a:pt x="115" y="25"/>
                    </a:lnTo>
                    <a:lnTo>
                      <a:pt x="142" y="14"/>
                    </a:lnTo>
                    <a:lnTo>
                      <a:pt x="170" y="7"/>
                    </a:lnTo>
                    <a:lnTo>
                      <a:pt x="200" y="1"/>
                    </a:lnTo>
                    <a:lnTo>
                      <a:pt x="2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0"/>
              <p:cNvSpPr>
                <a:spLocks noEditPoints="1"/>
              </p:cNvSpPr>
              <p:nvPr userDrawn="1"/>
            </p:nvSpPr>
            <p:spPr bwMode="auto">
              <a:xfrm>
                <a:off x="3492501" y="2847976"/>
                <a:ext cx="506413" cy="557213"/>
              </a:xfrm>
              <a:custGeom>
                <a:avLst/>
                <a:gdLst>
                  <a:gd name="T0" fmla="*/ 323 w 640"/>
                  <a:gd name="T1" fmla="*/ 34 h 703"/>
                  <a:gd name="T2" fmla="*/ 137 w 640"/>
                  <a:gd name="T3" fmla="*/ 474 h 703"/>
                  <a:gd name="T4" fmla="*/ 505 w 640"/>
                  <a:gd name="T5" fmla="*/ 474 h 703"/>
                  <a:gd name="T6" fmla="*/ 323 w 640"/>
                  <a:gd name="T7" fmla="*/ 34 h 703"/>
                  <a:gd name="T8" fmla="*/ 304 w 640"/>
                  <a:gd name="T9" fmla="*/ 0 h 703"/>
                  <a:gd name="T10" fmla="*/ 344 w 640"/>
                  <a:gd name="T11" fmla="*/ 0 h 703"/>
                  <a:gd name="T12" fmla="*/ 640 w 640"/>
                  <a:gd name="T13" fmla="*/ 703 h 703"/>
                  <a:gd name="T14" fmla="*/ 599 w 640"/>
                  <a:gd name="T15" fmla="*/ 703 h 703"/>
                  <a:gd name="T16" fmla="*/ 518 w 640"/>
                  <a:gd name="T17" fmla="*/ 507 h 703"/>
                  <a:gd name="T18" fmla="*/ 124 w 640"/>
                  <a:gd name="T19" fmla="*/ 507 h 703"/>
                  <a:gd name="T20" fmla="*/ 41 w 640"/>
                  <a:gd name="T21" fmla="*/ 703 h 703"/>
                  <a:gd name="T22" fmla="*/ 0 w 640"/>
                  <a:gd name="T23" fmla="*/ 703 h 703"/>
                  <a:gd name="T24" fmla="*/ 304 w 640"/>
                  <a:gd name="T25"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0" h="703">
                    <a:moveTo>
                      <a:pt x="323" y="34"/>
                    </a:moveTo>
                    <a:lnTo>
                      <a:pt x="137" y="474"/>
                    </a:lnTo>
                    <a:lnTo>
                      <a:pt x="505" y="474"/>
                    </a:lnTo>
                    <a:lnTo>
                      <a:pt x="323" y="34"/>
                    </a:lnTo>
                    <a:close/>
                    <a:moveTo>
                      <a:pt x="304" y="0"/>
                    </a:moveTo>
                    <a:lnTo>
                      <a:pt x="344" y="0"/>
                    </a:lnTo>
                    <a:lnTo>
                      <a:pt x="640" y="703"/>
                    </a:lnTo>
                    <a:lnTo>
                      <a:pt x="599" y="703"/>
                    </a:lnTo>
                    <a:lnTo>
                      <a:pt x="518" y="507"/>
                    </a:lnTo>
                    <a:lnTo>
                      <a:pt x="124" y="507"/>
                    </a:lnTo>
                    <a:lnTo>
                      <a:pt x="41" y="703"/>
                    </a:lnTo>
                    <a:lnTo>
                      <a:pt x="0" y="703"/>
                    </a:lnTo>
                    <a:lnTo>
                      <a:pt x="3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
              <p:cNvSpPr>
                <a:spLocks/>
              </p:cNvSpPr>
              <p:nvPr userDrawn="1"/>
            </p:nvSpPr>
            <p:spPr bwMode="auto">
              <a:xfrm>
                <a:off x="4048126" y="2832101"/>
                <a:ext cx="339725" cy="588963"/>
              </a:xfrm>
              <a:custGeom>
                <a:avLst/>
                <a:gdLst>
                  <a:gd name="T0" fmla="*/ 269 w 429"/>
                  <a:gd name="T1" fmla="*/ 2 h 741"/>
                  <a:gd name="T2" fmla="*/ 338 w 429"/>
                  <a:gd name="T3" fmla="*/ 21 h 741"/>
                  <a:gd name="T4" fmla="*/ 394 w 429"/>
                  <a:gd name="T5" fmla="*/ 57 h 741"/>
                  <a:gd name="T6" fmla="*/ 387 w 429"/>
                  <a:gd name="T7" fmla="*/ 105 h 741"/>
                  <a:gd name="T8" fmla="*/ 347 w 429"/>
                  <a:gd name="T9" fmla="*/ 66 h 741"/>
                  <a:gd name="T10" fmla="*/ 293 w 429"/>
                  <a:gd name="T11" fmla="*/ 42 h 741"/>
                  <a:gd name="T12" fmla="*/ 230 w 429"/>
                  <a:gd name="T13" fmla="*/ 33 h 741"/>
                  <a:gd name="T14" fmla="*/ 177 w 429"/>
                  <a:gd name="T15" fmla="*/ 38 h 741"/>
                  <a:gd name="T16" fmla="*/ 129 w 429"/>
                  <a:gd name="T17" fmla="*/ 57 h 741"/>
                  <a:gd name="T18" fmla="*/ 87 w 429"/>
                  <a:gd name="T19" fmla="*/ 88 h 741"/>
                  <a:gd name="T20" fmla="*/ 60 w 429"/>
                  <a:gd name="T21" fmla="*/ 131 h 741"/>
                  <a:gd name="T22" fmla="*/ 49 w 429"/>
                  <a:gd name="T23" fmla="*/ 186 h 741"/>
                  <a:gd name="T24" fmla="*/ 58 w 429"/>
                  <a:gd name="T25" fmla="*/ 238 h 741"/>
                  <a:gd name="T26" fmla="*/ 82 w 429"/>
                  <a:gd name="T27" fmla="*/ 278 h 741"/>
                  <a:gd name="T28" fmla="*/ 118 w 429"/>
                  <a:gd name="T29" fmla="*/ 307 h 741"/>
                  <a:gd name="T30" fmla="*/ 163 w 429"/>
                  <a:gd name="T31" fmla="*/ 330 h 741"/>
                  <a:gd name="T32" fmla="*/ 213 w 429"/>
                  <a:gd name="T33" fmla="*/ 349 h 741"/>
                  <a:gd name="T34" fmla="*/ 264 w 429"/>
                  <a:gd name="T35" fmla="*/ 368 h 741"/>
                  <a:gd name="T36" fmla="*/ 315 w 429"/>
                  <a:gd name="T37" fmla="*/ 389 h 741"/>
                  <a:gd name="T38" fmla="*/ 359 w 429"/>
                  <a:gd name="T39" fmla="*/ 413 h 741"/>
                  <a:gd name="T40" fmla="*/ 396 w 429"/>
                  <a:gd name="T41" fmla="*/ 446 h 741"/>
                  <a:gd name="T42" fmla="*/ 420 w 429"/>
                  <a:gd name="T43" fmla="*/ 491 h 741"/>
                  <a:gd name="T44" fmla="*/ 429 w 429"/>
                  <a:gd name="T45" fmla="*/ 549 h 741"/>
                  <a:gd name="T46" fmla="*/ 418 w 429"/>
                  <a:gd name="T47" fmla="*/ 612 h 741"/>
                  <a:gd name="T48" fmla="*/ 391 w 429"/>
                  <a:gd name="T49" fmla="*/ 662 h 741"/>
                  <a:gd name="T50" fmla="*/ 351 w 429"/>
                  <a:gd name="T51" fmla="*/ 701 h 741"/>
                  <a:gd name="T52" fmla="*/ 299 w 429"/>
                  <a:gd name="T53" fmla="*/ 727 h 741"/>
                  <a:gd name="T54" fmla="*/ 241 w 429"/>
                  <a:gd name="T55" fmla="*/ 740 h 741"/>
                  <a:gd name="T56" fmla="*/ 169 w 429"/>
                  <a:gd name="T57" fmla="*/ 739 h 741"/>
                  <a:gd name="T58" fmla="*/ 91 w 429"/>
                  <a:gd name="T59" fmla="*/ 719 h 741"/>
                  <a:gd name="T60" fmla="*/ 27 w 429"/>
                  <a:gd name="T61" fmla="*/ 678 h 741"/>
                  <a:gd name="T62" fmla="*/ 25 w 429"/>
                  <a:gd name="T63" fmla="*/ 626 h 741"/>
                  <a:gd name="T64" fmla="*/ 80 w 429"/>
                  <a:gd name="T65" fmla="*/ 670 h 741"/>
                  <a:gd name="T66" fmla="*/ 142 w 429"/>
                  <a:gd name="T67" fmla="*/ 698 h 741"/>
                  <a:gd name="T68" fmla="*/ 211 w 429"/>
                  <a:gd name="T69" fmla="*/ 707 h 741"/>
                  <a:gd name="T70" fmla="*/ 266 w 429"/>
                  <a:gd name="T71" fmla="*/ 701 h 741"/>
                  <a:gd name="T72" fmla="*/ 314 w 429"/>
                  <a:gd name="T73" fmla="*/ 681 h 741"/>
                  <a:gd name="T74" fmla="*/ 354 w 429"/>
                  <a:gd name="T75" fmla="*/ 650 h 741"/>
                  <a:gd name="T76" fmla="*/ 381 w 429"/>
                  <a:gd name="T77" fmla="*/ 606 h 741"/>
                  <a:gd name="T78" fmla="*/ 391 w 429"/>
                  <a:gd name="T79" fmla="*/ 551 h 741"/>
                  <a:gd name="T80" fmla="*/ 382 w 429"/>
                  <a:gd name="T81" fmla="*/ 499 h 741"/>
                  <a:gd name="T82" fmla="*/ 358 w 429"/>
                  <a:gd name="T83" fmla="*/ 460 h 741"/>
                  <a:gd name="T84" fmla="*/ 322 w 429"/>
                  <a:gd name="T85" fmla="*/ 430 h 741"/>
                  <a:gd name="T86" fmla="*/ 277 w 429"/>
                  <a:gd name="T87" fmla="*/ 408 h 741"/>
                  <a:gd name="T88" fmla="*/ 227 w 429"/>
                  <a:gd name="T89" fmla="*/ 389 h 741"/>
                  <a:gd name="T90" fmla="*/ 176 w 429"/>
                  <a:gd name="T91" fmla="*/ 371 h 741"/>
                  <a:gd name="T92" fmla="*/ 126 w 429"/>
                  <a:gd name="T93" fmla="*/ 349 h 741"/>
                  <a:gd name="T94" fmla="*/ 81 w 429"/>
                  <a:gd name="T95" fmla="*/ 324 h 741"/>
                  <a:gd name="T96" fmla="*/ 45 w 429"/>
                  <a:gd name="T97" fmla="*/ 291 h 741"/>
                  <a:gd name="T98" fmla="*/ 21 w 429"/>
                  <a:gd name="T99" fmla="*/ 245 h 741"/>
                  <a:gd name="T100" fmla="*/ 13 w 429"/>
                  <a:gd name="T101" fmla="*/ 187 h 741"/>
                  <a:gd name="T102" fmla="*/ 22 w 429"/>
                  <a:gd name="T103" fmla="*/ 125 h 741"/>
                  <a:gd name="T104" fmla="*/ 50 w 429"/>
                  <a:gd name="T105" fmla="*/ 76 h 741"/>
                  <a:gd name="T106" fmla="*/ 90 w 429"/>
                  <a:gd name="T107" fmla="*/ 39 h 741"/>
                  <a:gd name="T108" fmla="*/ 142 w 429"/>
                  <a:gd name="T109" fmla="*/ 14 h 741"/>
                  <a:gd name="T110" fmla="*/ 200 w 429"/>
                  <a:gd name="T111" fmla="*/ 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9" h="741">
                    <a:moveTo>
                      <a:pt x="231" y="0"/>
                    </a:moveTo>
                    <a:lnTo>
                      <a:pt x="269" y="2"/>
                    </a:lnTo>
                    <a:lnTo>
                      <a:pt x="305" y="10"/>
                    </a:lnTo>
                    <a:lnTo>
                      <a:pt x="338" y="21"/>
                    </a:lnTo>
                    <a:lnTo>
                      <a:pt x="367" y="37"/>
                    </a:lnTo>
                    <a:lnTo>
                      <a:pt x="394" y="57"/>
                    </a:lnTo>
                    <a:lnTo>
                      <a:pt x="415" y="80"/>
                    </a:lnTo>
                    <a:lnTo>
                      <a:pt x="387" y="105"/>
                    </a:lnTo>
                    <a:lnTo>
                      <a:pt x="368" y="83"/>
                    </a:lnTo>
                    <a:lnTo>
                      <a:pt x="347" y="66"/>
                    </a:lnTo>
                    <a:lnTo>
                      <a:pt x="321" y="52"/>
                    </a:lnTo>
                    <a:lnTo>
                      <a:pt x="293" y="42"/>
                    </a:lnTo>
                    <a:lnTo>
                      <a:pt x="262" y="35"/>
                    </a:lnTo>
                    <a:lnTo>
                      <a:pt x="230" y="33"/>
                    </a:lnTo>
                    <a:lnTo>
                      <a:pt x="203" y="34"/>
                    </a:lnTo>
                    <a:lnTo>
                      <a:pt x="177" y="38"/>
                    </a:lnTo>
                    <a:lnTo>
                      <a:pt x="152" y="46"/>
                    </a:lnTo>
                    <a:lnTo>
                      <a:pt x="129" y="57"/>
                    </a:lnTo>
                    <a:lnTo>
                      <a:pt x="106" y="71"/>
                    </a:lnTo>
                    <a:lnTo>
                      <a:pt x="87" y="88"/>
                    </a:lnTo>
                    <a:lnTo>
                      <a:pt x="71" y="107"/>
                    </a:lnTo>
                    <a:lnTo>
                      <a:pt x="60" y="131"/>
                    </a:lnTo>
                    <a:lnTo>
                      <a:pt x="52" y="156"/>
                    </a:lnTo>
                    <a:lnTo>
                      <a:pt x="49" y="186"/>
                    </a:lnTo>
                    <a:lnTo>
                      <a:pt x="51" y="214"/>
                    </a:lnTo>
                    <a:lnTo>
                      <a:pt x="58" y="238"/>
                    </a:lnTo>
                    <a:lnTo>
                      <a:pt x="68" y="259"/>
                    </a:lnTo>
                    <a:lnTo>
                      <a:pt x="82" y="278"/>
                    </a:lnTo>
                    <a:lnTo>
                      <a:pt x="99" y="294"/>
                    </a:lnTo>
                    <a:lnTo>
                      <a:pt x="118" y="307"/>
                    </a:lnTo>
                    <a:lnTo>
                      <a:pt x="140" y="320"/>
                    </a:lnTo>
                    <a:lnTo>
                      <a:pt x="163" y="330"/>
                    </a:lnTo>
                    <a:lnTo>
                      <a:pt x="188" y="340"/>
                    </a:lnTo>
                    <a:lnTo>
                      <a:pt x="213" y="349"/>
                    </a:lnTo>
                    <a:lnTo>
                      <a:pt x="239" y="358"/>
                    </a:lnTo>
                    <a:lnTo>
                      <a:pt x="264" y="368"/>
                    </a:lnTo>
                    <a:lnTo>
                      <a:pt x="290" y="377"/>
                    </a:lnTo>
                    <a:lnTo>
                      <a:pt x="315" y="389"/>
                    </a:lnTo>
                    <a:lnTo>
                      <a:pt x="338" y="400"/>
                    </a:lnTo>
                    <a:lnTo>
                      <a:pt x="359" y="413"/>
                    </a:lnTo>
                    <a:lnTo>
                      <a:pt x="379" y="429"/>
                    </a:lnTo>
                    <a:lnTo>
                      <a:pt x="396" y="446"/>
                    </a:lnTo>
                    <a:lnTo>
                      <a:pt x="409" y="467"/>
                    </a:lnTo>
                    <a:lnTo>
                      <a:pt x="420" y="491"/>
                    </a:lnTo>
                    <a:lnTo>
                      <a:pt x="426" y="518"/>
                    </a:lnTo>
                    <a:lnTo>
                      <a:pt x="429" y="549"/>
                    </a:lnTo>
                    <a:lnTo>
                      <a:pt x="426" y="581"/>
                    </a:lnTo>
                    <a:lnTo>
                      <a:pt x="418" y="612"/>
                    </a:lnTo>
                    <a:lnTo>
                      <a:pt x="407" y="639"/>
                    </a:lnTo>
                    <a:lnTo>
                      <a:pt x="391" y="662"/>
                    </a:lnTo>
                    <a:lnTo>
                      <a:pt x="373" y="684"/>
                    </a:lnTo>
                    <a:lnTo>
                      <a:pt x="351" y="701"/>
                    </a:lnTo>
                    <a:lnTo>
                      <a:pt x="326" y="715"/>
                    </a:lnTo>
                    <a:lnTo>
                      <a:pt x="299" y="727"/>
                    </a:lnTo>
                    <a:lnTo>
                      <a:pt x="271" y="734"/>
                    </a:lnTo>
                    <a:lnTo>
                      <a:pt x="241" y="740"/>
                    </a:lnTo>
                    <a:lnTo>
                      <a:pt x="211" y="741"/>
                    </a:lnTo>
                    <a:lnTo>
                      <a:pt x="169" y="739"/>
                    </a:lnTo>
                    <a:lnTo>
                      <a:pt x="129" y="731"/>
                    </a:lnTo>
                    <a:lnTo>
                      <a:pt x="91" y="719"/>
                    </a:lnTo>
                    <a:lnTo>
                      <a:pt x="58" y="701"/>
                    </a:lnTo>
                    <a:lnTo>
                      <a:pt x="27" y="678"/>
                    </a:lnTo>
                    <a:lnTo>
                      <a:pt x="0" y="651"/>
                    </a:lnTo>
                    <a:lnTo>
                      <a:pt x="25" y="626"/>
                    </a:lnTo>
                    <a:lnTo>
                      <a:pt x="51" y="650"/>
                    </a:lnTo>
                    <a:lnTo>
                      <a:pt x="80" y="670"/>
                    </a:lnTo>
                    <a:lnTo>
                      <a:pt x="109" y="687"/>
                    </a:lnTo>
                    <a:lnTo>
                      <a:pt x="142" y="698"/>
                    </a:lnTo>
                    <a:lnTo>
                      <a:pt x="176" y="705"/>
                    </a:lnTo>
                    <a:lnTo>
                      <a:pt x="211" y="707"/>
                    </a:lnTo>
                    <a:lnTo>
                      <a:pt x="239" y="706"/>
                    </a:lnTo>
                    <a:lnTo>
                      <a:pt x="266" y="701"/>
                    </a:lnTo>
                    <a:lnTo>
                      <a:pt x="290" y="693"/>
                    </a:lnTo>
                    <a:lnTo>
                      <a:pt x="314" y="681"/>
                    </a:lnTo>
                    <a:lnTo>
                      <a:pt x="335" y="667"/>
                    </a:lnTo>
                    <a:lnTo>
                      <a:pt x="354" y="650"/>
                    </a:lnTo>
                    <a:lnTo>
                      <a:pt x="370" y="630"/>
                    </a:lnTo>
                    <a:lnTo>
                      <a:pt x="381" y="606"/>
                    </a:lnTo>
                    <a:lnTo>
                      <a:pt x="388" y="580"/>
                    </a:lnTo>
                    <a:lnTo>
                      <a:pt x="391" y="551"/>
                    </a:lnTo>
                    <a:lnTo>
                      <a:pt x="389" y="523"/>
                    </a:lnTo>
                    <a:lnTo>
                      <a:pt x="382" y="499"/>
                    </a:lnTo>
                    <a:lnTo>
                      <a:pt x="372" y="478"/>
                    </a:lnTo>
                    <a:lnTo>
                      <a:pt x="358" y="460"/>
                    </a:lnTo>
                    <a:lnTo>
                      <a:pt x="341" y="444"/>
                    </a:lnTo>
                    <a:lnTo>
                      <a:pt x="322" y="430"/>
                    </a:lnTo>
                    <a:lnTo>
                      <a:pt x="300" y="419"/>
                    </a:lnTo>
                    <a:lnTo>
                      <a:pt x="277" y="408"/>
                    </a:lnTo>
                    <a:lnTo>
                      <a:pt x="253" y="398"/>
                    </a:lnTo>
                    <a:lnTo>
                      <a:pt x="227" y="389"/>
                    </a:lnTo>
                    <a:lnTo>
                      <a:pt x="202" y="380"/>
                    </a:lnTo>
                    <a:lnTo>
                      <a:pt x="176" y="371"/>
                    </a:lnTo>
                    <a:lnTo>
                      <a:pt x="151" y="360"/>
                    </a:lnTo>
                    <a:lnTo>
                      <a:pt x="126" y="349"/>
                    </a:lnTo>
                    <a:lnTo>
                      <a:pt x="103" y="338"/>
                    </a:lnTo>
                    <a:lnTo>
                      <a:pt x="81" y="324"/>
                    </a:lnTo>
                    <a:lnTo>
                      <a:pt x="62" y="309"/>
                    </a:lnTo>
                    <a:lnTo>
                      <a:pt x="45" y="291"/>
                    </a:lnTo>
                    <a:lnTo>
                      <a:pt x="32" y="269"/>
                    </a:lnTo>
                    <a:lnTo>
                      <a:pt x="21" y="245"/>
                    </a:lnTo>
                    <a:lnTo>
                      <a:pt x="15" y="218"/>
                    </a:lnTo>
                    <a:lnTo>
                      <a:pt x="13" y="187"/>
                    </a:lnTo>
                    <a:lnTo>
                      <a:pt x="15" y="154"/>
                    </a:lnTo>
                    <a:lnTo>
                      <a:pt x="22" y="125"/>
                    </a:lnTo>
                    <a:lnTo>
                      <a:pt x="34" y="99"/>
                    </a:lnTo>
                    <a:lnTo>
                      <a:pt x="50" y="76"/>
                    </a:lnTo>
                    <a:lnTo>
                      <a:pt x="69" y="56"/>
                    </a:lnTo>
                    <a:lnTo>
                      <a:pt x="90" y="39"/>
                    </a:lnTo>
                    <a:lnTo>
                      <a:pt x="115" y="25"/>
                    </a:lnTo>
                    <a:lnTo>
                      <a:pt x="142" y="14"/>
                    </a:lnTo>
                    <a:lnTo>
                      <a:pt x="170" y="7"/>
                    </a:lnTo>
                    <a:lnTo>
                      <a:pt x="200" y="1"/>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2"/>
              <p:cNvSpPr>
                <a:spLocks noEditPoints="1"/>
              </p:cNvSpPr>
              <p:nvPr userDrawn="1"/>
            </p:nvSpPr>
            <p:spPr bwMode="auto">
              <a:xfrm>
                <a:off x="4421188" y="2836863"/>
                <a:ext cx="66675" cy="65088"/>
              </a:xfrm>
              <a:custGeom>
                <a:avLst/>
                <a:gdLst>
                  <a:gd name="T0" fmla="*/ 33 w 84"/>
                  <a:gd name="T1" fmla="*/ 41 h 84"/>
                  <a:gd name="T2" fmla="*/ 44 w 84"/>
                  <a:gd name="T3" fmla="*/ 41 h 84"/>
                  <a:gd name="T4" fmla="*/ 50 w 84"/>
                  <a:gd name="T5" fmla="*/ 39 h 84"/>
                  <a:gd name="T6" fmla="*/ 53 w 84"/>
                  <a:gd name="T7" fmla="*/ 35 h 84"/>
                  <a:gd name="T8" fmla="*/ 53 w 84"/>
                  <a:gd name="T9" fmla="*/ 29 h 84"/>
                  <a:gd name="T10" fmla="*/ 51 w 84"/>
                  <a:gd name="T11" fmla="*/ 25 h 84"/>
                  <a:gd name="T12" fmla="*/ 45 w 84"/>
                  <a:gd name="T13" fmla="*/ 23 h 84"/>
                  <a:gd name="T14" fmla="*/ 33 w 84"/>
                  <a:gd name="T15" fmla="*/ 23 h 84"/>
                  <a:gd name="T16" fmla="*/ 43 w 84"/>
                  <a:gd name="T17" fmla="*/ 19 h 84"/>
                  <a:gd name="T18" fmla="*/ 52 w 84"/>
                  <a:gd name="T19" fmla="*/ 20 h 84"/>
                  <a:gd name="T20" fmla="*/ 57 w 84"/>
                  <a:gd name="T21" fmla="*/ 24 h 84"/>
                  <a:gd name="T22" fmla="*/ 59 w 84"/>
                  <a:gd name="T23" fmla="*/ 32 h 84"/>
                  <a:gd name="T24" fmla="*/ 56 w 84"/>
                  <a:gd name="T25" fmla="*/ 40 h 84"/>
                  <a:gd name="T26" fmla="*/ 51 w 84"/>
                  <a:gd name="T27" fmla="*/ 44 h 84"/>
                  <a:gd name="T28" fmla="*/ 61 w 84"/>
                  <a:gd name="T29" fmla="*/ 66 h 84"/>
                  <a:gd name="T30" fmla="*/ 42 w 84"/>
                  <a:gd name="T31" fmla="*/ 46 h 84"/>
                  <a:gd name="T32" fmla="*/ 33 w 84"/>
                  <a:gd name="T33" fmla="*/ 66 h 84"/>
                  <a:gd name="T34" fmla="*/ 27 w 84"/>
                  <a:gd name="T35" fmla="*/ 19 h 84"/>
                  <a:gd name="T36" fmla="*/ 27 w 84"/>
                  <a:gd name="T37" fmla="*/ 8 h 84"/>
                  <a:gd name="T38" fmla="*/ 8 w 84"/>
                  <a:gd name="T39" fmla="*/ 28 h 84"/>
                  <a:gd name="T40" fmla="*/ 8 w 84"/>
                  <a:gd name="T41" fmla="*/ 57 h 84"/>
                  <a:gd name="T42" fmla="*/ 27 w 84"/>
                  <a:gd name="T43" fmla="*/ 77 h 84"/>
                  <a:gd name="T44" fmla="*/ 56 w 84"/>
                  <a:gd name="T45" fmla="*/ 77 h 84"/>
                  <a:gd name="T46" fmla="*/ 77 w 84"/>
                  <a:gd name="T47" fmla="*/ 57 h 84"/>
                  <a:gd name="T48" fmla="*/ 77 w 84"/>
                  <a:gd name="T49" fmla="*/ 28 h 84"/>
                  <a:gd name="T50" fmla="*/ 56 w 84"/>
                  <a:gd name="T51" fmla="*/ 8 h 84"/>
                  <a:gd name="T52" fmla="*/ 42 w 84"/>
                  <a:gd name="T53" fmla="*/ 0 h 84"/>
                  <a:gd name="T54" fmla="*/ 72 w 84"/>
                  <a:gd name="T55" fmla="*/ 13 h 84"/>
                  <a:gd name="T56" fmla="*/ 84 w 84"/>
                  <a:gd name="T57" fmla="*/ 42 h 84"/>
                  <a:gd name="T58" fmla="*/ 72 w 84"/>
                  <a:gd name="T59" fmla="*/ 73 h 84"/>
                  <a:gd name="T60" fmla="*/ 42 w 84"/>
                  <a:gd name="T61" fmla="*/ 84 h 84"/>
                  <a:gd name="T62" fmla="*/ 17 w 84"/>
                  <a:gd name="T63" fmla="*/ 76 h 84"/>
                  <a:gd name="T64" fmla="*/ 2 w 84"/>
                  <a:gd name="T65" fmla="*/ 56 h 84"/>
                  <a:gd name="T66" fmla="*/ 3 w 84"/>
                  <a:gd name="T67" fmla="*/ 26 h 84"/>
                  <a:gd name="T68" fmla="*/ 26 w 84"/>
                  <a:gd name="T69"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4">
                    <a:moveTo>
                      <a:pt x="33" y="23"/>
                    </a:moveTo>
                    <a:lnTo>
                      <a:pt x="33" y="41"/>
                    </a:lnTo>
                    <a:lnTo>
                      <a:pt x="41" y="41"/>
                    </a:lnTo>
                    <a:lnTo>
                      <a:pt x="44" y="41"/>
                    </a:lnTo>
                    <a:lnTo>
                      <a:pt x="47" y="40"/>
                    </a:lnTo>
                    <a:lnTo>
                      <a:pt x="50" y="39"/>
                    </a:lnTo>
                    <a:lnTo>
                      <a:pt x="52" y="38"/>
                    </a:lnTo>
                    <a:lnTo>
                      <a:pt x="53" y="35"/>
                    </a:lnTo>
                    <a:lnTo>
                      <a:pt x="54" y="32"/>
                    </a:lnTo>
                    <a:lnTo>
                      <a:pt x="53" y="29"/>
                    </a:lnTo>
                    <a:lnTo>
                      <a:pt x="52" y="26"/>
                    </a:lnTo>
                    <a:lnTo>
                      <a:pt x="51" y="25"/>
                    </a:lnTo>
                    <a:lnTo>
                      <a:pt x="48" y="24"/>
                    </a:lnTo>
                    <a:lnTo>
                      <a:pt x="45" y="23"/>
                    </a:lnTo>
                    <a:lnTo>
                      <a:pt x="43" y="23"/>
                    </a:lnTo>
                    <a:lnTo>
                      <a:pt x="33" y="23"/>
                    </a:lnTo>
                    <a:close/>
                    <a:moveTo>
                      <a:pt x="27" y="19"/>
                    </a:moveTo>
                    <a:lnTo>
                      <a:pt x="43" y="19"/>
                    </a:lnTo>
                    <a:lnTo>
                      <a:pt x="47" y="20"/>
                    </a:lnTo>
                    <a:lnTo>
                      <a:pt x="52" y="20"/>
                    </a:lnTo>
                    <a:lnTo>
                      <a:pt x="54" y="22"/>
                    </a:lnTo>
                    <a:lnTo>
                      <a:pt x="57" y="24"/>
                    </a:lnTo>
                    <a:lnTo>
                      <a:pt x="59" y="28"/>
                    </a:lnTo>
                    <a:lnTo>
                      <a:pt x="59" y="32"/>
                    </a:lnTo>
                    <a:lnTo>
                      <a:pt x="59" y="37"/>
                    </a:lnTo>
                    <a:lnTo>
                      <a:pt x="56" y="40"/>
                    </a:lnTo>
                    <a:lnTo>
                      <a:pt x="54" y="42"/>
                    </a:lnTo>
                    <a:lnTo>
                      <a:pt x="51" y="44"/>
                    </a:lnTo>
                    <a:lnTo>
                      <a:pt x="47" y="44"/>
                    </a:lnTo>
                    <a:lnTo>
                      <a:pt x="61" y="66"/>
                    </a:lnTo>
                    <a:lnTo>
                      <a:pt x="54" y="66"/>
                    </a:lnTo>
                    <a:lnTo>
                      <a:pt x="42" y="46"/>
                    </a:lnTo>
                    <a:lnTo>
                      <a:pt x="33" y="46"/>
                    </a:lnTo>
                    <a:lnTo>
                      <a:pt x="33" y="66"/>
                    </a:lnTo>
                    <a:lnTo>
                      <a:pt x="27" y="66"/>
                    </a:lnTo>
                    <a:lnTo>
                      <a:pt x="27" y="19"/>
                    </a:lnTo>
                    <a:close/>
                    <a:moveTo>
                      <a:pt x="42" y="5"/>
                    </a:moveTo>
                    <a:lnTo>
                      <a:pt x="27" y="8"/>
                    </a:lnTo>
                    <a:lnTo>
                      <a:pt x="16" y="16"/>
                    </a:lnTo>
                    <a:lnTo>
                      <a:pt x="8" y="28"/>
                    </a:lnTo>
                    <a:lnTo>
                      <a:pt x="5" y="42"/>
                    </a:lnTo>
                    <a:lnTo>
                      <a:pt x="8" y="57"/>
                    </a:lnTo>
                    <a:lnTo>
                      <a:pt x="16" y="69"/>
                    </a:lnTo>
                    <a:lnTo>
                      <a:pt x="27" y="77"/>
                    </a:lnTo>
                    <a:lnTo>
                      <a:pt x="42" y="80"/>
                    </a:lnTo>
                    <a:lnTo>
                      <a:pt x="56" y="77"/>
                    </a:lnTo>
                    <a:lnTo>
                      <a:pt x="69" y="69"/>
                    </a:lnTo>
                    <a:lnTo>
                      <a:pt x="77" y="57"/>
                    </a:lnTo>
                    <a:lnTo>
                      <a:pt x="80" y="42"/>
                    </a:lnTo>
                    <a:lnTo>
                      <a:pt x="77" y="28"/>
                    </a:lnTo>
                    <a:lnTo>
                      <a:pt x="69" y="16"/>
                    </a:lnTo>
                    <a:lnTo>
                      <a:pt x="56" y="8"/>
                    </a:lnTo>
                    <a:lnTo>
                      <a:pt x="42" y="5"/>
                    </a:lnTo>
                    <a:close/>
                    <a:moveTo>
                      <a:pt x="42" y="0"/>
                    </a:moveTo>
                    <a:lnTo>
                      <a:pt x="59" y="4"/>
                    </a:lnTo>
                    <a:lnTo>
                      <a:pt x="72" y="13"/>
                    </a:lnTo>
                    <a:lnTo>
                      <a:pt x="81" y="26"/>
                    </a:lnTo>
                    <a:lnTo>
                      <a:pt x="84" y="42"/>
                    </a:lnTo>
                    <a:lnTo>
                      <a:pt x="81" y="59"/>
                    </a:lnTo>
                    <a:lnTo>
                      <a:pt x="72" y="73"/>
                    </a:lnTo>
                    <a:lnTo>
                      <a:pt x="59" y="82"/>
                    </a:lnTo>
                    <a:lnTo>
                      <a:pt x="42" y="84"/>
                    </a:lnTo>
                    <a:lnTo>
                      <a:pt x="29" y="83"/>
                    </a:lnTo>
                    <a:lnTo>
                      <a:pt x="17" y="76"/>
                    </a:lnTo>
                    <a:lnTo>
                      <a:pt x="8" y="67"/>
                    </a:lnTo>
                    <a:lnTo>
                      <a:pt x="2" y="56"/>
                    </a:lnTo>
                    <a:lnTo>
                      <a:pt x="0" y="42"/>
                    </a:lnTo>
                    <a:lnTo>
                      <a:pt x="3" y="26"/>
                    </a:lnTo>
                    <a:lnTo>
                      <a:pt x="12" y="13"/>
                    </a:lnTo>
                    <a:lnTo>
                      <a:pt x="26" y="4"/>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3"/>
              <p:cNvSpPr>
                <a:spLocks/>
              </p:cNvSpPr>
              <p:nvPr userDrawn="1"/>
            </p:nvSpPr>
            <p:spPr bwMode="auto">
              <a:xfrm>
                <a:off x="4649788" y="2847976"/>
                <a:ext cx="460375" cy="557213"/>
              </a:xfrm>
              <a:custGeom>
                <a:avLst/>
                <a:gdLst>
                  <a:gd name="T0" fmla="*/ 0 w 580"/>
                  <a:gd name="T1" fmla="*/ 0 h 703"/>
                  <a:gd name="T2" fmla="*/ 40 w 580"/>
                  <a:gd name="T3" fmla="*/ 0 h 703"/>
                  <a:gd name="T4" fmla="*/ 288 w 580"/>
                  <a:gd name="T5" fmla="*/ 660 h 703"/>
                  <a:gd name="T6" fmla="*/ 290 w 580"/>
                  <a:gd name="T7" fmla="*/ 660 h 703"/>
                  <a:gd name="T8" fmla="*/ 540 w 580"/>
                  <a:gd name="T9" fmla="*/ 0 h 703"/>
                  <a:gd name="T10" fmla="*/ 580 w 580"/>
                  <a:gd name="T11" fmla="*/ 0 h 703"/>
                  <a:gd name="T12" fmla="*/ 312 w 580"/>
                  <a:gd name="T13" fmla="*/ 703 h 703"/>
                  <a:gd name="T14" fmla="*/ 265 w 580"/>
                  <a:gd name="T15" fmla="*/ 703 h 703"/>
                  <a:gd name="T16" fmla="*/ 0 w 580"/>
                  <a:gd name="T17"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703">
                    <a:moveTo>
                      <a:pt x="0" y="0"/>
                    </a:moveTo>
                    <a:lnTo>
                      <a:pt x="40" y="0"/>
                    </a:lnTo>
                    <a:lnTo>
                      <a:pt x="288" y="660"/>
                    </a:lnTo>
                    <a:lnTo>
                      <a:pt x="290" y="660"/>
                    </a:lnTo>
                    <a:lnTo>
                      <a:pt x="540" y="0"/>
                    </a:lnTo>
                    <a:lnTo>
                      <a:pt x="580" y="0"/>
                    </a:lnTo>
                    <a:lnTo>
                      <a:pt x="312" y="703"/>
                    </a:lnTo>
                    <a:lnTo>
                      <a:pt x="265" y="7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4"/>
              <p:cNvSpPr>
                <a:spLocks noEditPoints="1"/>
              </p:cNvSpPr>
              <p:nvPr userDrawn="1"/>
            </p:nvSpPr>
            <p:spPr bwMode="auto">
              <a:xfrm>
                <a:off x="5157788" y="2862263"/>
                <a:ext cx="47625" cy="542925"/>
              </a:xfrm>
              <a:custGeom>
                <a:avLst/>
                <a:gdLst>
                  <a:gd name="T0" fmla="*/ 14 w 61"/>
                  <a:gd name="T1" fmla="*/ 225 h 684"/>
                  <a:gd name="T2" fmla="*/ 48 w 61"/>
                  <a:gd name="T3" fmla="*/ 225 h 684"/>
                  <a:gd name="T4" fmla="*/ 48 w 61"/>
                  <a:gd name="T5" fmla="*/ 684 h 684"/>
                  <a:gd name="T6" fmla="*/ 14 w 61"/>
                  <a:gd name="T7" fmla="*/ 684 h 684"/>
                  <a:gd name="T8" fmla="*/ 14 w 61"/>
                  <a:gd name="T9" fmla="*/ 225 h 684"/>
                  <a:gd name="T10" fmla="*/ 30 w 61"/>
                  <a:gd name="T11" fmla="*/ 0 h 684"/>
                  <a:gd name="T12" fmla="*/ 42 w 61"/>
                  <a:gd name="T13" fmla="*/ 4 h 684"/>
                  <a:gd name="T14" fmla="*/ 52 w 61"/>
                  <a:gd name="T15" fmla="*/ 10 h 684"/>
                  <a:gd name="T16" fmla="*/ 59 w 61"/>
                  <a:gd name="T17" fmla="*/ 20 h 684"/>
                  <a:gd name="T18" fmla="*/ 61 w 61"/>
                  <a:gd name="T19" fmla="*/ 33 h 684"/>
                  <a:gd name="T20" fmla="*/ 59 w 61"/>
                  <a:gd name="T21" fmla="*/ 46 h 684"/>
                  <a:gd name="T22" fmla="*/ 52 w 61"/>
                  <a:gd name="T23" fmla="*/ 56 h 684"/>
                  <a:gd name="T24" fmla="*/ 42 w 61"/>
                  <a:gd name="T25" fmla="*/ 63 h 684"/>
                  <a:gd name="T26" fmla="*/ 30 w 61"/>
                  <a:gd name="T27" fmla="*/ 66 h 684"/>
                  <a:gd name="T28" fmla="*/ 19 w 61"/>
                  <a:gd name="T29" fmla="*/ 63 h 684"/>
                  <a:gd name="T30" fmla="*/ 9 w 61"/>
                  <a:gd name="T31" fmla="*/ 56 h 684"/>
                  <a:gd name="T32" fmla="*/ 2 w 61"/>
                  <a:gd name="T33" fmla="*/ 46 h 684"/>
                  <a:gd name="T34" fmla="*/ 0 w 61"/>
                  <a:gd name="T35" fmla="*/ 33 h 684"/>
                  <a:gd name="T36" fmla="*/ 2 w 61"/>
                  <a:gd name="T37" fmla="*/ 20 h 684"/>
                  <a:gd name="T38" fmla="*/ 9 w 61"/>
                  <a:gd name="T39" fmla="*/ 10 h 684"/>
                  <a:gd name="T40" fmla="*/ 19 w 61"/>
                  <a:gd name="T41" fmla="*/ 4 h 684"/>
                  <a:gd name="T42" fmla="*/ 30 w 61"/>
                  <a:gd name="T43" fmla="*/ 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84">
                    <a:moveTo>
                      <a:pt x="14" y="225"/>
                    </a:moveTo>
                    <a:lnTo>
                      <a:pt x="48" y="225"/>
                    </a:lnTo>
                    <a:lnTo>
                      <a:pt x="48" y="684"/>
                    </a:lnTo>
                    <a:lnTo>
                      <a:pt x="14" y="684"/>
                    </a:lnTo>
                    <a:lnTo>
                      <a:pt x="14" y="225"/>
                    </a:lnTo>
                    <a:close/>
                    <a:moveTo>
                      <a:pt x="30" y="0"/>
                    </a:moveTo>
                    <a:lnTo>
                      <a:pt x="42" y="4"/>
                    </a:lnTo>
                    <a:lnTo>
                      <a:pt x="52" y="10"/>
                    </a:lnTo>
                    <a:lnTo>
                      <a:pt x="59" y="20"/>
                    </a:lnTo>
                    <a:lnTo>
                      <a:pt x="61" y="33"/>
                    </a:lnTo>
                    <a:lnTo>
                      <a:pt x="59" y="46"/>
                    </a:lnTo>
                    <a:lnTo>
                      <a:pt x="52" y="56"/>
                    </a:lnTo>
                    <a:lnTo>
                      <a:pt x="42" y="63"/>
                    </a:lnTo>
                    <a:lnTo>
                      <a:pt x="30" y="66"/>
                    </a:lnTo>
                    <a:lnTo>
                      <a:pt x="19" y="63"/>
                    </a:lnTo>
                    <a:lnTo>
                      <a:pt x="9" y="56"/>
                    </a:lnTo>
                    <a:lnTo>
                      <a:pt x="2" y="46"/>
                    </a:lnTo>
                    <a:lnTo>
                      <a:pt x="0" y="33"/>
                    </a:lnTo>
                    <a:lnTo>
                      <a:pt x="2" y="20"/>
                    </a:lnTo>
                    <a:lnTo>
                      <a:pt x="9" y="10"/>
                    </a:lnTo>
                    <a:lnTo>
                      <a:pt x="19" y="4"/>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5"/>
              <p:cNvSpPr>
                <a:spLocks/>
              </p:cNvSpPr>
              <p:nvPr userDrawn="1"/>
            </p:nvSpPr>
            <p:spPr bwMode="auto">
              <a:xfrm>
                <a:off x="5289551" y="3041651"/>
                <a:ext cx="317500" cy="554038"/>
              </a:xfrm>
              <a:custGeom>
                <a:avLst/>
                <a:gdLst>
                  <a:gd name="T0" fmla="*/ 0 w 400"/>
                  <a:gd name="T1" fmla="*/ 0 h 699"/>
                  <a:gd name="T2" fmla="*/ 39 w 400"/>
                  <a:gd name="T3" fmla="*/ 0 h 699"/>
                  <a:gd name="T4" fmla="*/ 204 w 400"/>
                  <a:gd name="T5" fmla="*/ 429 h 699"/>
                  <a:gd name="T6" fmla="*/ 360 w 400"/>
                  <a:gd name="T7" fmla="*/ 0 h 699"/>
                  <a:gd name="T8" fmla="*/ 400 w 400"/>
                  <a:gd name="T9" fmla="*/ 0 h 699"/>
                  <a:gd name="T10" fmla="*/ 171 w 400"/>
                  <a:gd name="T11" fmla="*/ 601 h 699"/>
                  <a:gd name="T12" fmla="*/ 160 w 400"/>
                  <a:gd name="T13" fmla="*/ 626 h 699"/>
                  <a:gd name="T14" fmla="*/ 148 w 400"/>
                  <a:gd name="T15" fmla="*/ 647 h 699"/>
                  <a:gd name="T16" fmla="*/ 133 w 400"/>
                  <a:gd name="T17" fmla="*/ 665 h 699"/>
                  <a:gd name="T18" fmla="*/ 118 w 400"/>
                  <a:gd name="T19" fmla="*/ 680 h 699"/>
                  <a:gd name="T20" fmla="*/ 97 w 400"/>
                  <a:gd name="T21" fmla="*/ 690 h 699"/>
                  <a:gd name="T22" fmla="*/ 76 w 400"/>
                  <a:gd name="T23" fmla="*/ 697 h 699"/>
                  <a:gd name="T24" fmla="*/ 50 w 400"/>
                  <a:gd name="T25" fmla="*/ 699 h 699"/>
                  <a:gd name="T26" fmla="*/ 34 w 400"/>
                  <a:gd name="T27" fmla="*/ 698 h 699"/>
                  <a:gd name="T28" fmla="*/ 19 w 400"/>
                  <a:gd name="T29" fmla="*/ 697 h 699"/>
                  <a:gd name="T30" fmla="*/ 4 w 400"/>
                  <a:gd name="T31" fmla="*/ 693 h 699"/>
                  <a:gd name="T32" fmla="*/ 10 w 400"/>
                  <a:gd name="T33" fmla="*/ 661 h 699"/>
                  <a:gd name="T34" fmla="*/ 29 w 400"/>
                  <a:gd name="T35" fmla="*/ 665 h 699"/>
                  <a:gd name="T36" fmla="*/ 50 w 400"/>
                  <a:gd name="T37" fmla="*/ 667 h 699"/>
                  <a:gd name="T38" fmla="*/ 71 w 400"/>
                  <a:gd name="T39" fmla="*/ 665 h 699"/>
                  <a:gd name="T40" fmla="*/ 88 w 400"/>
                  <a:gd name="T41" fmla="*/ 658 h 699"/>
                  <a:gd name="T42" fmla="*/ 104 w 400"/>
                  <a:gd name="T43" fmla="*/ 647 h 699"/>
                  <a:gd name="T44" fmla="*/ 116 w 400"/>
                  <a:gd name="T45" fmla="*/ 634 h 699"/>
                  <a:gd name="T46" fmla="*/ 126 w 400"/>
                  <a:gd name="T47" fmla="*/ 618 h 699"/>
                  <a:gd name="T48" fmla="*/ 135 w 400"/>
                  <a:gd name="T49" fmla="*/ 600 h 699"/>
                  <a:gd name="T50" fmla="*/ 143 w 400"/>
                  <a:gd name="T51" fmla="*/ 581 h 699"/>
                  <a:gd name="T52" fmla="*/ 185 w 400"/>
                  <a:gd name="T53" fmla="*/ 468 h 699"/>
                  <a:gd name="T54" fmla="*/ 0 w 400"/>
                  <a:gd name="T55"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0" h="699">
                    <a:moveTo>
                      <a:pt x="0" y="0"/>
                    </a:moveTo>
                    <a:lnTo>
                      <a:pt x="39" y="0"/>
                    </a:lnTo>
                    <a:lnTo>
                      <a:pt x="204" y="429"/>
                    </a:lnTo>
                    <a:lnTo>
                      <a:pt x="360" y="0"/>
                    </a:lnTo>
                    <a:lnTo>
                      <a:pt x="400" y="0"/>
                    </a:lnTo>
                    <a:lnTo>
                      <a:pt x="171" y="601"/>
                    </a:lnTo>
                    <a:lnTo>
                      <a:pt x="160" y="626"/>
                    </a:lnTo>
                    <a:lnTo>
                      <a:pt x="148" y="647"/>
                    </a:lnTo>
                    <a:lnTo>
                      <a:pt x="133" y="665"/>
                    </a:lnTo>
                    <a:lnTo>
                      <a:pt x="118" y="680"/>
                    </a:lnTo>
                    <a:lnTo>
                      <a:pt x="97" y="690"/>
                    </a:lnTo>
                    <a:lnTo>
                      <a:pt x="76" y="697"/>
                    </a:lnTo>
                    <a:lnTo>
                      <a:pt x="50" y="699"/>
                    </a:lnTo>
                    <a:lnTo>
                      <a:pt x="34" y="698"/>
                    </a:lnTo>
                    <a:lnTo>
                      <a:pt x="19" y="697"/>
                    </a:lnTo>
                    <a:lnTo>
                      <a:pt x="4" y="693"/>
                    </a:lnTo>
                    <a:lnTo>
                      <a:pt x="10" y="661"/>
                    </a:lnTo>
                    <a:lnTo>
                      <a:pt x="29" y="665"/>
                    </a:lnTo>
                    <a:lnTo>
                      <a:pt x="50" y="667"/>
                    </a:lnTo>
                    <a:lnTo>
                      <a:pt x="71" y="665"/>
                    </a:lnTo>
                    <a:lnTo>
                      <a:pt x="88" y="658"/>
                    </a:lnTo>
                    <a:lnTo>
                      <a:pt x="104" y="647"/>
                    </a:lnTo>
                    <a:lnTo>
                      <a:pt x="116" y="634"/>
                    </a:lnTo>
                    <a:lnTo>
                      <a:pt x="126" y="618"/>
                    </a:lnTo>
                    <a:lnTo>
                      <a:pt x="135" y="600"/>
                    </a:lnTo>
                    <a:lnTo>
                      <a:pt x="143" y="581"/>
                    </a:lnTo>
                    <a:lnTo>
                      <a:pt x="185" y="46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6"/>
              <p:cNvSpPr>
                <a:spLocks noEditPoints="1"/>
              </p:cNvSpPr>
              <p:nvPr userDrawn="1"/>
            </p:nvSpPr>
            <p:spPr bwMode="auto">
              <a:xfrm>
                <a:off x="5649913" y="3028951"/>
                <a:ext cx="293688" cy="387350"/>
              </a:xfrm>
              <a:custGeom>
                <a:avLst/>
                <a:gdLst>
                  <a:gd name="T0" fmla="*/ 248 w 370"/>
                  <a:gd name="T1" fmla="*/ 230 h 487"/>
                  <a:gd name="T2" fmla="*/ 197 w 370"/>
                  <a:gd name="T3" fmla="*/ 232 h 487"/>
                  <a:gd name="T4" fmla="*/ 149 w 370"/>
                  <a:gd name="T5" fmla="*/ 240 h 487"/>
                  <a:gd name="T6" fmla="*/ 105 w 370"/>
                  <a:gd name="T7" fmla="*/ 254 h 487"/>
                  <a:gd name="T8" fmla="*/ 69 w 370"/>
                  <a:gd name="T9" fmla="*/ 276 h 487"/>
                  <a:gd name="T10" fmla="*/ 44 w 370"/>
                  <a:gd name="T11" fmla="*/ 309 h 487"/>
                  <a:gd name="T12" fmla="*/ 35 w 370"/>
                  <a:gd name="T13" fmla="*/ 351 h 487"/>
                  <a:gd name="T14" fmla="*/ 45 w 370"/>
                  <a:gd name="T15" fmla="*/ 396 h 487"/>
                  <a:gd name="T16" fmla="*/ 69 w 370"/>
                  <a:gd name="T17" fmla="*/ 428 h 487"/>
                  <a:gd name="T18" fmla="*/ 104 w 370"/>
                  <a:gd name="T19" fmla="*/ 447 h 487"/>
                  <a:gd name="T20" fmla="*/ 142 w 370"/>
                  <a:gd name="T21" fmla="*/ 456 h 487"/>
                  <a:gd name="T22" fmla="*/ 191 w 370"/>
                  <a:gd name="T23" fmla="*/ 454 h 487"/>
                  <a:gd name="T24" fmla="*/ 243 w 370"/>
                  <a:gd name="T25" fmla="*/ 436 h 487"/>
                  <a:gd name="T26" fmla="*/ 281 w 370"/>
                  <a:gd name="T27" fmla="*/ 404 h 487"/>
                  <a:gd name="T28" fmla="*/ 307 w 370"/>
                  <a:gd name="T29" fmla="*/ 360 h 487"/>
                  <a:gd name="T30" fmla="*/ 323 w 370"/>
                  <a:gd name="T31" fmla="*/ 310 h 487"/>
                  <a:gd name="T32" fmla="*/ 327 w 370"/>
                  <a:gd name="T33" fmla="*/ 256 h 487"/>
                  <a:gd name="T34" fmla="*/ 271 w 370"/>
                  <a:gd name="T35" fmla="*/ 229 h 487"/>
                  <a:gd name="T36" fmla="*/ 219 w 370"/>
                  <a:gd name="T37" fmla="*/ 2 h 487"/>
                  <a:gd name="T38" fmla="*/ 272 w 370"/>
                  <a:gd name="T39" fmla="*/ 14 h 487"/>
                  <a:gd name="T40" fmla="*/ 314 w 370"/>
                  <a:gd name="T41" fmla="*/ 42 h 487"/>
                  <a:gd name="T42" fmla="*/ 344 w 370"/>
                  <a:gd name="T43" fmla="*/ 82 h 487"/>
                  <a:gd name="T44" fmla="*/ 360 w 370"/>
                  <a:gd name="T45" fmla="*/ 136 h 487"/>
                  <a:gd name="T46" fmla="*/ 362 w 370"/>
                  <a:gd name="T47" fmla="*/ 371 h 487"/>
                  <a:gd name="T48" fmla="*/ 364 w 370"/>
                  <a:gd name="T49" fmla="*/ 426 h 487"/>
                  <a:gd name="T50" fmla="*/ 370 w 370"/>
                  <a:gd name="T51" fmla="*/ 473 h 487"/>
                  <a:gd name="T52" fmla="*/ 334 w 370"/>
                  <a:gd name="T53" fmla="*/ 456 h 487"/>
                  <a:gd name="T54" fmla="*/ 331 w 370"/>
                  <a:gd name="T55" fmla="*/ 413 h 487"/>
                  <a:gd name="T56" fmla="*/ 330 w 370"/>
                  <a:gd name="T57" fmla="*/ 375 h 487"/>
                  <a:gd name="T58" fmla="*/ 313 w 370"/>
                  <a:gd name="T59" fmla="*/ 402 h 487"/>
                  <a:gd name="T60" fmla="*/ 278 w 370"/>
                  <a:gd name="T61" fmla="*/ 444 h 487"/>
                  <a:gd name="T62" fmla="*/ 233 w 370"/>
                  <a:gd name="T63" fmla="*/ 472 h 487"/>
                  <a:gd name="T64" fmla="*/ 181 w 370"/>
                  <a:gd name="T65" fmla="*/ 484 h 487"/>
                  <a:gd name="T66" fmla="*/ 133 w 370"/>
                  <a:gd name="T67" fmla="*/ 485 h 487"/>
                  <a:gd name="T68" fmla="*/ 89 w 370"/>
                  <a:gd name="T69" fmla="*/ 475 h 487"/>
                  <a:gd name="T70" fmla="*/ 50 w 370"/>
                  <a:gd name="T71" fmla="*/ 455 h 487"/>
                  <a:gd name="T72" fmla="*/ 19 w 370"/>
                  <a:gd name="T73" fmla="*/ 422 h 487"/>
                  <a:gd name="T74" fmla="*/ 3 w 370"/>
                  <a:gd name="T75" fmla="*/ 378 h 487"/>
                  <a:gd name="T76" fmla="*/ 3 w 370"/>
                  <a:gd name="T77" fmla="*/ 325 h 487"/>
                  <a:gd name="T78" fmla="*/ 18 w 370"/>
                  <a:gd name="T79" fmla="*/ 281 h 487"/>
                  <a:gd name="T80" fmla="*/ 49 w 370"/>
                  <a:gd name="T81" fmla="*/ 249 h 487"/>
                  <a:gd name="T82" fmla="*/ 88 w 370"/>
                  <a:gd name="T83" fmla="*/ 226 h 487"/>
                  <a:gd name="T84" fmla="*/ 135 w 370"/>
                  <a:gd name="T85" fmla="*/ 212 h 487"/>
                  <a:gd name="T86" fmla="*/ 186 w 370"/>
                  <a:gd name="T87" fmla="*/ 204 h 487"/>
                  <a:gd name="T88" fmla="*/ 236 w 370"/>
                  <a:gd name="T89" fmla="*/ 200 h 487"/>
                  <a:gd name="T90" fmla="*/ 327 w 370"/>
                  <a:gd name="T91" fmla="*/ 200 h 487"/>
                  <a:gd name="T92" fmla="*/ 325 w 370"/>
                  <a:gd name="T93" fmla="*/ 141 h 487"/>
                  <a:gd name="T94" fmla="*/ 309 w 370"/>
                  <a:gd name="T95" fmla="*/ 92 h 487"/>
                  <a:gd name="T96" fmla="*/ 280 w 370"/>
                  <a:gd name="T97" fmla="*/ 57 h 487"/>
                  <a:gd name="T98" fmla="*/ 240 w 370"/>
                  <a:gd name="T99" fmla="*/ 38 h 487"/>
                  <a:gd name="T100" fmla="*/ 187 w 370"/>
                  <a:gd name="T101" fmla="*/ 31 h 487"/>
                  <a:gd name="T102" fmla="*/ 125 w 370"/>
                  <a:gd name="T103" fmla="*/ 42 h 487"/>
                  <a:gd name="T104" fmla="*/ 71 w 370"/>
                  <a:gd name="T105" fmla="*/ 67 h 487"/>
                  <a:gd name="T106" fmla="*/ 28 w 370"/>
                  <a:gd name="T107" fmla="*/ 60 h 487"/>
                  <a:gd name="T108" fmla="*/ 86 w 370"/>
                  <a:gd name="T109" fmla="*/ 23 h 487"/>
                  <a:gd name="T110" fmla="*/ 153 w 370"/>
                  <a:gd name="T111" fmla="*/ 3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487">
                    <a:moveTo>
                      <a:pt x="271" y="229"/>
                    </a:moveTo>
                    <a:lnTo>
                      <a:pt x="248" y="230"/>
                    </a:lnTo>
                    <a:lnTo>
                      <a:pt x="223" y="231"/>
                    </a:lnTo>
                    <a:lnTo>
                      <a:pt x="197" y="232"/>
                    </a:lnTo>
                    <a:lnTo>
                      <a:pt x="172" y="235"/>
                    </a:lnTo>
                    <a:lnTo>
                      <a:pt x="149" y="240"/>
                    </a:lnTo>
                    <a:lnTo>
                      <a:pt x="126" y="247"/>
                    </a:lnTo>
                    <a:lnTo>
                      <a:pt x="105" y="254"/>
                    </a:lnTo>
                    <a:lnTo>
                      <a:pt x="86" y="263"/>
                    </a:lnTo>
                    <a:lnTo>
                      <a:pt x="69" y="276"/>
                    </a:lnTo>
                    <a:lnTo>
                      <a:pt x="54" y="291"/>
                    </a:lnTo>
                    <a:lnTo>
                      <a:pt x="44" y="309"/>
                    </a:lnTo>
                    <a:lnTo>
                      <a:pt x="37" y="328"/>
                    </a:lnTo>
                    <a:lnTo>
                      <a:pt x="35" y="351"/>
                    </a:lnTo>
                    <a:lnTo>
                      <a:pt x="39" y="375"/>
                    </a:lnTo>
                    <a:lnTo>
                      <a:pt x="45" y="396"/>
                    </a:lnTo>
                    <a:lnTo>
                      <a:pt x="55" y="413"/>
                    </a:lnTo>
                    <a:lnTo>
                      <a:pt x="69" y="428"/>
                    </a:lnTo>
                    <a:lnTo>
                      <a:pt x="86" y="438"/>
                    </a:lnTo>
                    <a:lnTo>
                      <a:pt x="104" y="447"/>
                    </a:lnTo>
                    <a:lnTo>
                      <a:pt x="123" y="453"/>
                    </a:lnTo>
                    <a:lnTo>
                      <a:pt x="142" y="456"/>
                    </a:lnTo>
                    <a:lnTo>
                      <a:pt x="161" y="456"/>
                    </a:lnTo>
                    <a:lnTo>
                      <a:pt x="191" y="454"/>
                    </a:lnTo>
                    <a:lnTo>
                      <a:pt x="219" y="447"/>
                    </a:lnTo>
                    <a:lnTo>
                      <a:pt x="243" y="436"/>
                    </a:lnTo>
                    <a:lnTo>
                      <a:pt x="264" y="421"/>
                    </a:lnTo>
                    <a:lnTo>
                      <a:pt x="281" y="404"/>
                    </a:lnTo>
                    <a:lnTo>
                      <a:pt x="296" y="383"/>
                    </a:lnTo>
                    <a:lnTo>
                      <a:pt x="307" y="360"/>
                    </a:lnTo>
                    <a:lnTo>
                      <a:pt x="316" y="336"/>
                    </a:lnTo>
                    <a:lnTo>
                      <a:pt x="323" y="310"/>
                    </a:lnTo>
                    <a:lnTo>
                      <a:pt x="326" y="283"/>
                    </a:lnTo>
                    <a:lnTo>
                      <a:pt x="327" y="256"/>
                    </a:lnTo>
                    <a:lnTo>
                      <a:pt x="327" y="229"/>
                    </a:lnTo>
                    <a:lnTo>
                      <a:pt x="271" y="229"/>
                    </a:lnTo>
                    <a:close/>
                    <a:moveTo>
                      <a:pt x="189" y="0"/>
                    </a:moveTo>
                    <a:lnTo>
                      <a:pt x="219" y="2"/>
                    </a:lnTo>
                    <a:lnTo>
                      <a:pt x="246" y="7"/>
                    </a:lnTo>
                    <a:lnTo>
                      <a:pt x="272" y="14"/>
                    </a:lnTo>
                    <a:lnTo>
                      <a:pt x="295" y="27"/>
                    </a:lnTo>
                    <a:lnTo>
                      <a:pt x="314" y="42"/>
                    </a:lnTo>
                    <a:lnTo>
                      <a:pt x="331" y="60"/>
                    </a:lnTo>
                    <a:lnTo>
                      <a:pt x="344" y="82"/>
                    </a:lnTo>
                    <a:lnTo>
                      <a:pt x="353" y="107"/>
                    </a:lnTo>
                    <a:lnTo>
                      <a:pt x="360" y="136"/>
                    </a:lnTo>
                    <a:lnTo>
                      <a:pt x="362" y="169"/>
                    </a:lnTo>
                    <a:lnTo>
                      <a:pt x="362" y="371"/>
                    </a:lnTo>
                    <a:lnTo>
                      <a:pt x="362" y="398"/>
                    </a:lnTo>
                    <a:lnTo>
                      <a:pt x="364" y="426"/>
                    </a:lnTo>
                    <a:lnTo>
                      <a:pt x="367" y="452"/>
                    </a:lnTo>
                    <a:lnTo>
                      <a:pt x="370" y="473"/>
                    </a:lnTo>
                    <a:lnTo>
                      <a:pt x="336" y="473"/>
                    </a:lnTo>
                    <a:lnTo>
                      <a:pt x="334" y="456"/>
                    </a:lnTo>
                    <a:lnTo>
                      <a:pt x="332" y="436"/>
                    </a:lnTo>
                    <a:lnTo>
                      <a:pt x="331" y="413"/>
                    </a:lnTo>
                    <a:lnTo>
                      <a:pt x="330" y="393"/>
                    </a:lnTo>
                    <a:lnTo>
                      <a:pt x="330" y="375"/>
                    </a:lnTo>
                    <a:lnTo>
                      <a:pt x="326" y="375"/>
                    </a:lnTo>
                    <a:lnTo>
                      <a:pt x="313" y="402"/>
                    </a:lnTo>
                    <a:lnTo>
                      <a:pt x="297" y="425"/>
                    </a:lnTo>
                    <a:lnTo>
                      <a:pt x="278" y="444"/>
                    </a:lnTo>
                    <a:lnTo>
                      <a:pt x="257" y="460"/>
                    </a:lnTo>
                    <a:lnTo>
                      <a:pt x="233" y="472"/>
                    </a:lnTo>
                    <a:lnTo>
                      <a:pt x="208" y="480"/>
                    </a:lnTo>
                    <a:lnTo>
                      <a:pt x="181" y="484"/>
                    </a:lnTo>
                    <a:lnTo>
                      <a:pt x="154" y="487"/>
                    </a:lnTo>
                    <a:lnTo>
                      <a:pt x="133" y="485"/>
                    </a:lnTo>
                    <a:lnTo>
                      <a:pt x="110" y="482"/>
                    </a:lnTo>
                    <a:lnTo>
                      <a:pt x="89" y="475"/>
                    </a:lnTo>
                    <a:lnTo>
                      <a:pt x="69" y="466"/>
                    </a:lnTo>
                    <a:lnTo>
                      <a:pt x="50" y="455"/>
                    </a:lnTo>
                    <a:lnTo>
                      <a:pt x="33" y="440"/>
                    </a:lnTo>
                    <a:lnTo>
                      <a:pt x="19" y="422"/>
                    </a:lnTo>
                    <a:lnTo>
                      <a:pt x="9" y="402"/>
                    </a:lnTo>
                    <a:lnTo>
                      <a:pt x="3" y="378"/>
                    </a:lnTo>
                    <a:lnTo>
                      <a:pt x="0" y="352"/>
                    </a:lnTo>
                    <a:lnTo>
                      <a:pt x="3" y="325"/>
                    </a:lnTo>
                    <a:lnTo>
                      <a:pt x="8" y="302"/>
                    </a:lnTo>
                    <a:lnTo>
                      <a:pt x="18" y="281"/>
                    </a:lnTo>
                    <a:lnTo>
                      <a:pt x="32" y="265"/>
                    </a:lnTo>
                    <a:lnTo>
                      <a:pt x="49" y="249"/>
                    </a:lnTo>
                    <a:lnTo>
                      <a:pt x="67" y="236"/>
                    </a:lnTo>
                    <a:lnTo>
                      <a:pt x="88" y="226"/>
                    </a:lnTo>
                    <a:lnTo>
                      <a:pt x="110" y="218"/>
                    </a:lnTo>
                    <a:lnTo>
                      <a:pt x="135" y="212"/>
                    </a:lnTo>
                    <a:lnTo>
                      <a:pt x="160" y="207"/>
                    </a:lnTo>
                    <a:lnTo>
                      <a:pt x="186" y="204"/>
                    </a:lnTo>
                    <a:lnTo>
                      <a:pt x="212" y="202"/>
                    </a:lnTo>
                    <a:lnTo>
                      <a:pt x="236" y="200"/>
                    </a:lnTo>
                    <a:lnTo>
                      <a:pt x="262" y="200"/>
                    </a:lnTo>
                    <a:lnTo>
                      <a:pt x="327" y="200"/>
                    </a:lnTo>
                    <a:lnTo>
                      <a:pt x="327" y="170"/>
                    </a:lnTo>
                    <a:lnTo>
                      <a:pt x="325" y="141"/>
                    </a:lnTo>
                    <a:lnTo>
                      <a:pt x="319" y="115"/>
                    </a:lnTo>
                    <a:lnTo>
                      <a:pt x="309" y="92"/>
                    </a:lnTo>
                    <a:lnTo>
                      <a:pt x="297" y="73"/>
                    </a:lnTo>
                    <a:lnTo>
                      <a:pt x="280" y="57"/>
                    </a:lnTo>
                    <a:lnTo>
                      <a:pt x="261" y="46"/>
                    </a:lnTo>
                    <a:lnTo>
                      <a:pt x="240" y="38"/>
                    </a:lnTo>
                    <a:lnTo>
                      <a:pt x="215" y="33"/>
                    </a:lnTo>
                    <a:lnTo>
                      <a:pt x="187" y="31"/>
                    </a:lnTo>
                    <a:lnTo>
                      <a:pt x="155" y="34"/>
                    </a:lnTo>
                    <a:lnTo>
                      <a:pt x="125" y="42"/>
                    </a:lnTo>
                    <a:lnTo>
                      <a:pt x="97" y="53"/>
                    </a:lnTo>
                    <a:lnTo>
                      <a:pt x="71" y="67"/>
                    </a:lnTo>
                    <a:lnTo>
                      <a:pt x="49" y="85"/>
                    </a:lnTo>
                    <a:lnTo>
                      <a:pt x="28" y="60"/>
                    </a:lnTo>
                    <a:lnTo>
                      <a:pt x="55" y="39"/>
                    </a:lnTo>
                    <a:lnTo>
                      <a:pt x="86" y="23"/>
                    </a:lnTo>
                    <a:lnTo>
                      <a:pt x="118" y="11"/>
                    </a:lnTo>
                    <a:lnTo>
                      <a:pt x="153" y="3"/>
                    </a:lnTo>
                    <a:lnTo>
                      <a:pt x="1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7"/>
              <p:cNvSpPr>
                <a:spLocks noEditPoints="1"/>
              </p:cNvSpPr>
              <p:nvPr userDrawn="1"/>
            </p:nvSpPr>
            <p:spPr bwMode="auto">
              <a:xfrm>
                <a:off x="5938838" y="3028951"/>
                <a:ext cx="93663" cy="47625"/>
              </a:xfrm>
              <a:custGeom>
                <a:avLst/>
                <a:gdLst>
                  <a:gd name="T0" fmla="*/ 58 w 118"/>
                  <a:gd name="T1" fmla="*/ 0 h 61"/>
                  <a:gd name="T2" fmla="*/ 66 w 118"/>
                  <a:gd name="T3" fmla="*/ 0 h 61"/>
                  <a:gd name="T4" fmla="*/ 88 w 118"/>
                  <a:gd name="T5" fmla="*/ 53 h 61"/>
                  <a:gd name="T6" fmla="*/ 110 w 118"/>
                  <a:gd name="T7" fmla="*/ 0 h 61"/>
                  <a:gd name="T8" fmla="*/ 118 w 118"/>
                  <a:gd name="T9" fmla="*/ 0 h 61"/>
                  <a:gd name="T10" fmla="*/ 118 w 118"/>
                  <a:gd name="T11" fmla="*/ 61 h 61"/>
                  <a:gd name="T12" fmla="*/ 113 w 118"/>
                  <a:gd name="T13" fmla="*/ 61 h 61"/>
                  <a:gd name="T14" fmla="*/ 113 w 118"/>
                  <a:gd name="T15" fmla="*/ 5 h 61"/>
                  <a:gd name="T16" fmla="*/ 113 w 118"/>
                  <a:gd name="T17" fmla="*/ 5 h 61"/>
                  <a:gd name="T18" fmla="*/ 89 w 118"/>
                  <a:gd name="T19" fmla="*/ 61 h 61"/>
                  <a:gd name="T20" fmla="*/ 86 w 118"/>
                  <a:gd name="T21" fmla="*/ 61 h 61"/>
                  <a:gd name="T22" fmla="*/ 64 w 118"/>
                  <a:gd name="T23" fmla="*/ 5 h 61"/>
                  <a:gd name="T24" fmla="*/ 64 w 118"/>
                  <a:gd name="T25" fmla="*/ 5 h 61"/>
                  <a:gd name="T26" fmla="*/ 64 w 118"/>
                  <a:gd name="T27" fmla="*/ 61 h 61"/>
                  <a:gd name="T28" fmla="*/ 58 w 118"/>
                  <a:gd name="T29" fmla="*/ 61 h 61"/>
                  <a:gd name="T30" fmla="*/ 58 w 118"/>
                  <a:gd name="T31" fmla="*/ 0 h 61"/>
                  <a:gd name="T32" fmla="*/ 0 w 118"/>
                  <a:gd name="T33" fmla="*/ 0 h 61"/>
                  <a:gd name="T34" fmla="*/ 44 w 118"/>
                  <a:gd name="T35" fmla="*/ 0 h 61"/>
                  <a:gd name="T36" fmla="*/ 44 w 118"/>
                  <a:gd name="T37" fmla="*/ 4 h 61"/>
                  <a:gd name="T38" fmla="*/ 24 w 118"/>
                  <a:gd name="T39" fmla="*/ 4 h 61"/>
                  <a:gd name="T40" fmla="*/ 24 w 118"/>
                  <a:gd name="T41" fmla="*/ 61 h 61"/>
                  <a:gd name="T42" fmla="*/ 20 w 118"/>
                  <a:gd name="T43" fmla="*/ 61 h 61"/>
                  <a:gd name="T44" fmla="*/ 20 w 118"/>
                  <a:gd name="T45" fmla="*/ 4 h 61"/>
                  <a:gd name="T46" fmla="*/ 0 w 118"/>
                  <a:gd name="T47" fmla="*/ 4 h 61"/>
                  <a:gd name="T48" fmla="*/ 0 w 118"/>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61">
                    <a:moveTo>
                      <a:pt x="58" y="0"/>
                    </a:moveTo>
                    <a:lnTo>
                      <a:pt x="66" y="0"/>
                    </a:lnTo>
                    <a:lnTo>
                      <a:pt x="88" y="53"/>
                    </a:lnTo>
                    <a:lnTo>
                      <a:pt x="110" y="0"/>
                    </a:lnTo>
                    <a:lnTo>
                      <a:pt x="118" y="0"/>
                    </a:lnTo>
                    <a:lnTo>
                      <a:pt x="118" y="61"/>
                    </a:lnTo>
                    <a:lnTo>
                      <a:pt x="113" y="61"/>
                    </a:lnTo>
                    <a:lnTo>
                      <a:pt x="113" y="5"/>
                    </a:lnTo>
                    <a:lnTo>
                      <a:pt x="113" y="5"/>
                    </a:lnTo>
                    <a:lnTo>
                      <a:pt x="89" y="61"/>
                    </a:lnTo>
                    <a:lnTo>
                      <a:pt x="86" y="61"/>
                    </a:lnTo>
                    <a:lnTo>
                      <a:pt x="64" y="5"/>
                    </a:lnTo>
                    <a:lnTo>
                      <a:pt x="64" y="5"/>
                    </a:lnTo>
                    <a:lnTo>
                      <a:pt x="64" y="61"/>
                    </a:lnTo>
                    <a:lnTo>
                      <a:pt x="58" y="61"/>
                    </a:lnTo>
                    <a:lnTo>
                      <a:pt x="58" y="0"/>
                    </a:lnTo>
                    <a:close/>
                    <a:moveTo>
                      <a:pt x="0" y="0"/>
                    </a:moveTo>
                    <a:lnTo>
                      <a:pt x="44" y="0"/>
                    </a:lnTo>
                    <a:lnTo>
                      <a:pt x="44" y="4"/>
                    </a:lnTo>
                    <a:lnTo>
                      <a:pt x="24" y="4"/>
                    </a:lnTo>
                    <a:lnTo>
                      <a:pt x="24" y="61"/>
                    </a:lnTo>
                    <a:lnTo>
                      <a:pt x="20" y="61"/>
                    </a:lnTo>
                    <a:lnTo>
                      <a:pt x="20" y="4"/>
                    </a:lnTo>
                    <a:lnTo>
                      <a:pt x="0" y="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45"/>
            <p:cNvGrpSpPr/>
            <p:nvPr userDrawn="1"/>
          </p:nvGrpSpPr>
          <p:grpSpPr>
            <a:xfrm>
              <a:off x="3857626" y="1555751"/>
              <a:ext cx="1419225" cy="930275"/>
              <a:chOff x="3857626" y="1555751"/>
              <a:chExt cx="1419225" cy="930275"/>
            </a:xfrm>
            <a:grpFill/>
          </p:grpSpPr>
          <p:sp>
            <p:nvSpPr>
              <p:cNvPr id="47" name="Freeform 28"/>
              <p:cNvSpPr>
                <a:spLocks/>
              </p:cNvSpPr>
              <p:nvPr userDrawn="1"/>
            </p:nvSpPr>
            <p:spPr bwMode="auto">
              <a:xfrm>
                <a:off x="3857626" y="1555751"/>
                <a:ext cx="1416050" cy="930275"/>
              </a:xfrm>
              <a:custGeom>
                <a:avLst/>
                <a:gdLst>
                  <a:gd name="T0" fmla="*/ 902 w 1784"/>
                  <a:gd name="T1" fmla="*/ 27 h 1172"/>
                  <a:gd name="T2" fmla="*/ 1076 w 1784"/>
                  <a:gd name="T3" fmla="*/ 141 h 1172"/>
                  <a:gd name="T4" fmla="*/ 1087 w 1784"/>
                  <a:gd name="T5" fmla="*/ 187 h 1172"/>
                  <a:gd name="T6" fmla="*/ 1044 w 1784"/>
                  <a:gd name="T7" fmla="*/ 218 h 1172"/>
                  <a:gd name="T8" fmla="*/ 1009 w 1784"/>
                  <a:gd name="T9" fmla="*/ 202 h 1172"/>
                  <a:gd name="T10" fmla="*/ 889 w 1784"/>
                  <a:gd name="T11" fmla="*/ 120 h 1172"/>
                  <a:gd name="T12" fmla="*/ 695 w 1784"/>
                  <a:gd name="T13" fmla="*/ 94 h 1172"/>
                  <a:gd name="T14" fmla="*/ 520 w 1784"/>
                  <a:gd name="T15" fmla="*/ 168 h 1172"/>
                  <a:gd name="T16" fmla="*/ 406 w 1784"/>
                  <a:gd name="T17" fmla="*/ 317 h 1172"/>
                  <a:gd name="T18" fmla="*/ 378 w 1784"/>
                  <a:gd name="T19" fmla="*/ 491 h 1172"/>
                  <a:gd name="T20" fmla="*/ 298 w 1784"/>
                  <a:gd name="T21" fmla="*/ 580 h 1172"/>
                  <a:gd name="T22" fmla="*/ 163 w 1784"/>
                  <a:gd name="T23" fmla="*/ 651 h 1172"/>
                  <a:gd name="T24" fmla="*/ 93 w 1784"/>
                  <a:gd name="T25" fmla="*/ 788 h 1172"/>
                  <a:gd name="T26" fmla="*/ 118 w 1784"/>
                  <a:gd name="T27" fmla="*/ 944 h 1172"/>
                  <a:gd name="T28" fmla="*/ 227 w 1784"/>
                  <a:gd name="T29" fmla="*/ 1052 h 1172"/>
                  <a:gd name="T30" fmla="*/ 356 w 1784"/>
                  <a:gd name="T31" fmla="*/ 1081 h 1172"/>
                  <a:gd name="T32" fmla="*/ 1482 w 1784"/>
                  <a:gd name="T33" fmla="*/ 1077 h 1172"/>
                  <a:gd name="T34" fmla="*/ 1619 w 1784"/>
                  <a:gd name="T35" fmla="*/ 1006 h 1172"/>
                  <a:gd name="T36" fmla="*/ 1690 w 1784"/>
                  <a:gd name="T37" fmla="*/ 869 h 1172"/>
                  <a:gd name="T38" fmla="*/ 1670 w 1784"/>
                  <a:gd name="T39" fmla="*/ 720 h 1172"/>
                  <a:gd name="T40" fmla="*/ 1575 w 1784"/>
                  <a:gd name="T41" fmla="*/ 614 h 1172"/>
                  <a:gd name="T42" fmla="*/ 1421 w 1784"/>
                  <a:gd name="T43" fmla="*/ 571 h 1172"/>
                  <a:gd name="T44" fmla="*/ 1434 w 1784"/>
                  <a:gd name="T45" fmla="*/ 458 h 1172"/>
                  <a:gd name="T46" fmla="*/ 1393 w 1784"/>
                  <a:gd name="T47" fmla="*/ 380 h 1172"/>
                  <a:gd name="T48" fmla="*/ 1339 w 1784"/>
                  <a:gd name="T49" fmla="*/ 345 h 1172"/>
                  <a:gd name="T50" fmla="*/ 1256 w 1784"/>
                  <a:gd name="T51" fmla="*/ 336 h 1172"/>
                  <a:gd name="T52" fmla="*/ 1182 w 1784"/>
                  <a:gd name="T53" fmla="*/ 370 h 1172"/>
                  <a:gd name="T54" fmla="*/ 1154 w 1784"/>
                  <a:gd name="T55" fmla="*/ 402 h 1172"/>
                  <a:gd name="T56" fmla="*/ 1144 w 1784"/>
                  <a:gd name="T57" fmla="*/ 420 h 1172"/>
                  <a:gd name="T58" fmla="*/ 900 w 1784"/>
                  <a:gd name="T59" fmla="*/ 953 h 1172"/>
                  <a:gd name="T60" fmla="*/ 857 w 1784"/>
                  <a:gd name="T61" fmla="*/ 957 h 1172"/>
                  <a:gd name="T62" fmla="*/ 640 w 1784"/>
                  <a:gd name="T63" fmla="*/ 494 h 1172"/>
                  <a:gd name="T64" fmla="*/ 652 w 1784"/>
                  <a:gd name="T65" fmla="*/ 442 h 1172"/>
                  <a:gd name="T66" fmla="*/ 704 w 1784"/>
                  <a:gd name="T67" fmla="*/ 436 h 1172"/>
                  <a:gd name="T68" fmla="*/ 1057 w 1784"/>
                  <a:gd name="T69" fmla="*/ 389 h 1172"/>
                  <a:gd name="T70" fmla="*/ 1122 w 1784"/>
                  <a:gd name="T71" fmla="*/ 303 h 1172"/>
                  <a:gd name="T72" fmla="*/ 1253 w 1784"/>
                  <a:gd name="T73" fmla="*/ 246 h 1172"/>
                  <a:gd name="T74" fmla="*/ 1262 w 1784"/>
                  <a:gd name="T75" fmla="*/ 245 h 1172"/>
                  <a:gd name="T76" fmla="*/ 1282 w 1784"/>
                  <a:gd name="T77" fmla="*/ 243 h 1172"/>
                  <a:gd name="T78" fmla="*/ 1342 w 1784"/>
                  <a:gd name="T79" fmla="*/ 250 h 1172"/>
                  <a:gd name="T80" fmla="*/ 1452 w 1784"/>
                  <a:gd name="T81" fmla="*/ 311 h 1172"/>
                  <a:gd name="T82" fmla="*/ 1496 w 1784"/>
                  <a:gd name="T83" fmla="*/ 367 h 1172"/>
                  <a:gd name="T84" fmla="*/ 1527 w 1784"/>
                  <a:gd name="T85" fmla="*/ 487 h 1172"/>
                  <a:gd name="T86" fmla="*/ 1648 w 1784"/>
                  <a:gd name="T87" fmla="*/ 554 h 1172"/>
                  <a:gd name="T88" fmla="*/ 1756 w 1784"/>
                  <a:gd name="T89" fmla="*/ 694 h 1172"/>
                  <a:gd name="T90" fmla="*/ 1781 w 1784"/>
                  <a:gd name="T91" fmla="*/ 874 h 1172"/>
                  <a:gd name="T92" fmla="*/ 1712 w 1784"/>
                  <a:gd name="T93" fmla="*/ 1038 h 1172"/>
                  <a:gd name="T94" fmla="*/ 1574 w 1784"/>
                  <a:gd name="T95" fmla="*/ 1145 h 1172"/>
                  <a:gd name="T96" fmla="*/ 1424 w 1784"/>
                  <a:gd name="T97" fmla="*/ 1172 h 1172"/>
                  <a:gd name="T98" fmla="*/ 252 w 1784"/>
                  <a:gd name="T99" fmla="*/ 1159 h 1172"/>
                  <a:gd name="T100" fmla="*/ 100 w 1784"/>
                  <a:gd name="T101" fmla="*/ 1072 h 1172"/>
                  <a:gd name="T102" fmla="*/ 12 w 1784"/>
                  <a:gd name="T103" fmla="*/ 919 h 1172"/>
                  <a:gd name="T104" fmla="*/ 11 w 1784"/>
                  <a:gd name="T105" fmla="*/ 739 h 1172"/>
                  <a:gd name="T106" fmla="*/ 97 w 1784"/>
                  <a:gd name="T107" fmla="*/ 589 h 1172"/>
                  <a:gd name="T108" fmla="*/ 243 w 1784"/>
                  <a:gd name="T109" fmla="*/ 499 h 1172"/>
                  <a:gd name="T110" fmla="*/ 298 w 1784"/>
                  <a:gd name="T111" fmla="*/ 355 h 1172"/>
                  <a:gd name="T112" fmla="*/ 386 w 1784"/>
                  <a:gd name="T113" fmla="*/ 173 h 1172"/>
                  <a:gd name="T114" fmla="*/ 544 w 1784"/>
                  <a:gd name="T115" fmla="*/ 46 h 1172"/>
                  <a:gd name="T116" fmla="*/ 746 w 1784"/>
                  <a:gd name="T117"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84" h="1172">
                    <a:moveTo>
                      <a:pt x="746" y="0"/>
                    </a:moveTo>
                    <a:lnTo>
                      <a:pt x="800" y="2"/>
                    </a:lnTo>
                    <a:lnTo>
                      <a:pt x="852" y="13"/>
                    </a:lnTo>
                    <a:lnTo>
                      <a:pt x="902" y="27"/>
                    </a:lnTo>
                    <a:lnTo>
                      <a:pt x="951" y="49"/>
                    </a:lnTo>
                    <a:lnTo>
                      <a:pt x="997" y="74"/>
                    </a:lnTo>
                    <a:lnTo>
                      <a:pt x="1038" y="105"/>
                    </a:lnTo>
                    <a:lnTo>
                      <a:pt x="1076" y="141"/>
                    </a:lnTo>
                    <a:lnTo>
                      <a:pt x="1080" y="144"/>
                    </a:lnTo>
                    <a:lnTo>
                      <a:pt x="1087" y="158"/>
                    </a:lnTo>
                    <a:lnTo>
                      <a:pt x="1089" y="173"/>
                    </a:lnTo>
                    <a:lnTo>
                      <a:pt x="1087" y="187"/>
                    </a:lnTo>
                    <a:lnTo>
                      <a:pt x="1081" y="200"/>
                    </a:lnTo>
                    <a:lnTo>
                      <a:pt x="1071" y="209"/>
                    </a:lnTo>
                    <a:lnTo>
                      <a:pt x="1058" y="215"/>
                    </a:lnTo>
                    <a:lnTo>
                      <a:pt x="1044" y="218"/>
                    </a:lnTo>
                    <a:lnTo>
                      <a:pt x="1033" y="216"/>
                    </a:lnTo>
                    <a:lnTo>
                      <a:pt x="1021" y="212"/>
                    </a:lnTo>
                    <a:lnTo>
                      <a:pt x="1012" y="204"/>
                    </a:lnTo>
                    <a:lnTo>
                      <a:pt x="1009" y="202"/>
                    </a:lnTo>
                    <a:lnTo>
                      <a:pt x="1007" y="200"/>
                    </a:lnTo>
                    <a:lnTo>
                      <a:pt x="971" y="168"/>
                    </a:lnTo>
                    <a:lnTo>
                      <a:pt x="931" y="141"/>
                    </a:lnTo>
                    <a:lnTo>
                      <a:pt x="889" y="120"/>
                    </a:lnTo>
                    <a:lnTo>
                      <a:pt x="843" y="104"/>
                    </a:lnTo>
                    <a:lnTo>
                      <a:pt x="796" y="94"/>
                    </a:lnTo>
                    <a:lnTo>
                      <a:pt x="746" y="90"/>
                    </a:lnTo>
                    <a:lnTo>
                      <a:pt x="695" y="94"/>
                    </a:lnTo>
                    <a:lnTo>
                      <a:pt x="647" y="104"/>
                    </a:lnTo>
                    <a:lnTo>
                      <a:pt x="602" y="120"/>
                    </a:lnTo>
                    <a:lnTo>
                      <a:pt x="560" y="141"/>
                    </a:lnTo>
                    <a:lnTo>
                      <a:pt x="520" y="168"/>
                    </a:lnTo>
                    <a:lnTo>
                      <a:pt x="484" y="200"/>
                    </a:lnTo>
                    <a:lnTo>
                      <a:pt x="453" y="234"/>
                    </a:lnTo>
                    <a:lnTo>
                      <a:pt x="427" y="274"/>
                    </a:lnTo>
                    <a:lnTo>
                      <a:pt x="406" y="317"/>
                    </a:lnTo>
                    <a:lnTo>
                      <a:pt x="390" y="363"/>
                    </a:lnTo>
                    <a:lnTo>
                      <a:pt x="380" y="410"/>
                    </a:lnTo>
                    <a:lnTo>
                      <a:pt x="376" y="461"/>
                    </a:lnTo>
                    <a:lnTo>
                      <a:pt x="378" y="491"/>
                    </a:lnTo>
                    <a:lnTo>
                      <a:pt x="381" y="523"/>
                    </a:lnTo>
                    <a:lnTo>
                      <a:pt x="390" y="575"/>
                    </a:lnTo>
                    <a:lnTo>
                      <a:pt x="337" y="576"/>
                    </a:lnTo>
                    <a:lnTo>
                      <a:pt x="298" y="580"/>
                    </a:lnTo>
                    <a:lnTo>
                      <a:pt x="260" y="590"/>
                    </a:lnTo>
                    <a:lnTo>
                      <a:pt x="224" y="605"/>
                    </a:lnTo>
                    <a:lnTo>
                      <a:pt x="192" y="627"/>
                    </a:lnTo>
                    <a:lnTo>
                      <a:pt x="163" y="651"/>
                    </a:lnTo>
                    <a:lnTo>
                      <a:pt x="138" y="681"/>
                    </a:lnTo>
                    <a:lnTo>
                      <a:pt x="118" y="714"/>
                    </a:lnTo>
                    <a:lnTo>
                      <a:pt x="103" y="749"/>
                    </a:lnTo>
                    <a:lnTo>
                      <a:pt x="93" y="788"/>
                    </a:lnTo>
                    <a:lnTo>
                      <a:pt x="90" y="828"/>
                    </a:lnTo>
                    <a:lnTo>
                      <a:pt x="93" y="869"/>
                    </a:lnTo>
                    <a:lnTo>
                      <a:pt x="103" y="908"/>
                    </a:lnTo>
                    <a:lnTo>
                      <a:pt x="118" y="944"/>
                    </a:lnTo>
                    <a:lnTo>
                      <a:pt x="139" y="977"/>
                    </a:lnTo>
                    <a:lnTo>
                      <a:pt x="164" y="1006"/>
                    </a:lnTo>
                    <a:lnTo>
                      <a:pt x="193" y="1032"/>
                    </a:lnTo>
                    <a:lnTo>
                      <a:pt x="227" y="1052"/>
                    </a:lnTo>
                    <a:lnTo>
                      <a:pt x="263" y="1068"/>
                    </a:lnTo>
                    <a:lnTo>
                      <a:pt x="301" y="1077"/>
                    </a:lnTo>
                    <a:lnTo>
                      <a:pt x="343" y="1081"/>
                    </a:lnTo>
                    <a:lnTo>
                      <a:pt x="356" y="1081"/>
                    </a:lnTo>
                    <a:lnTo>
                      <a:pt x="357" y="1081"/>
                    </a:lnTo>
                    <a:lnTo>
                      <a:pt x="1428" y="1081"/>
                    </a:lnTo>
                    <a:lnTo>
                      <a:pt x="1442" y="1081"/>
                    </a:lnTo>
                    <a:lnTo>
                      <a:pt x="1482" y="1077"/>
                    </a:lnTo>
                    <a:lnTo>
                      <a:pt x="1521" y="1068"/>
                    </a:lnTo>
                    <a:lnTo>
                      <a:pt x="1557" y="1052"/>
                    </a:lnTo>
                    <a:lnTo>
                      <a:pt x="1590" y="1032"/>
                    </a:lnTo>
                    <a:lnTo>
                      <a:pt x="1619" y="1006"/>
                    </a:lnTo>
                    <a:lnTo>
                      <a:pt x="1645" y="977"/>
                    </a:lnTo>
                    <a:lnTo>
                      <a:pt x="1665" y="944"/>
                    </a:lnTo>
                    <a:lnTo>
                      <a:pt x="1681" y="908"/>
                    </a:lnTo>
                    <a:lnTo>
                      <a:pt x="1690" y="869"/>
                    </a:lnTo>
                    <a:lnTo>
                      <a:pt x="1693" y="828"/>
                    </a:lnTo>
                    <a:lnTo>
                      <a:pt x="1690" y="791"/>
                    </a:lnTo>
                    <a:lnTo>
                      <a:pt x="1682" y="755"/>
                    </a:lnTo>
                    <a:lnTo>
                      <a:pt x="1670" y="720"/>
                    </a:lnTo>
                    <a:lnTo>
                      <a:pt x="1652" y="690"/>
                    </a:lnTo>
                    <a:lnTo>
                      <a:pt x="1629" y="660"/>
                    </a:lnTo>
                    <a:lnTo>
                      <a:pt x="1605" y="636"/>
                    </a:lnTo>
                    <a:lnTo>
                      <a:pt x="1575" y="614"/>
                    </a:lnTo>
                    <a:lnTo>
                      <a:pt x="1543" y="597"/>
                    </a:lnTo>
                    <a:lnTo>
                      <a:pt x="1508" y="585"/>
                    </a:lnTo>
                    <a:lnTo>
                      <a:pt x="1471" y="578"/>
                    </a:lnTo>
                    <a:lnTo>
                      <a:pt x="1421" y="571"/>
                    </a:lnTo>
                    <a:lnTo>
                      <a:pt x="1433" y="522"/>
                    </a:lnTo>
                    <a:lnTo>
                      <a:pt x="1436" y="504"/>
                    </a:lnTo>
                    <a:lnTo>
                      <a:pt x="1437" y="487"/>
                    </a:lnTo>
                    <a:lnTo>
                      <a:pt x="1434" y="458"/>
                    </a:lnTo>
                    <a:lnTo>
                      <a:pt x="1426" y="431"/>
                    </a:lnTo>
                    <a:lnTo>
                      <a:pt x="1414" y="406"/>
                    </a:lnTo>
                    <a:lnTo>
                      <a:pt x="1397" y="384"/>
                    </a:lnTo>
                    <a:lnTo>
                      <a:pt x="1393" y="380"/>
                    </a:lnTo>
                    <a:lnTo>
                      <a:pt x="1389" y="376"/>
                    </a:lnTo>
                    <a:lnTo>
                      <a:pt x="1387" y="374"/>
                    </a:lnTo>
                    <a:lnTo>
                      <a:pt x="1364" y="358"/>
                    </a:lnTo>
                    <a:lnTo>
                      <a:pt x="1339" y="345"/>
                    </a:lnTo>
                    <a:lnTo>
                      <a:pt x="1312" y="337"/>
                    </a:lnTo>
                    <a:lnTo>
                      <a:pt x="1283" y="335"/>
                    </a:lnTo>
                    <a:lnTo>
                      <a:pt x="1282" y="335"/>
                    </a:lnTo>
                    <a:lnTo>
                      <a:pt x="1256" y="336"/>
                    </a:lnTo>
                    <a:lnTo>
                      <a:pt x="1233" y="340"/>
                    </a:lnTo>
                    <a:lnTo>
                      <a:pt x="1212" y="348"/>
                    </a:lnTo>
                    <a:lnTo>
                      <a:pt x="1196" y="358"/>
                    </a:lnTo>
                    <a:lnTo>
                      <a:pt x="1182" y="370"/>
                    </a:lnTo>
                    <a:lnTo>
                      <a:pt x="1171" y="381"/>
                    </a:lnTo>
                    <a:lnTo>
                      <a:pt x="1163" y="390"/>
                    </a:lnTo>
                    <a:lnTo>
                      <a:pt x="1157" y="398"/>
                    </a:lnTo>
                    <a:lnTo>
                      <a:pt x="1154" y="402"/>
                    </a:lnTo>
                    <a:lnTo>
                      <a:pt x="1152" y="407"/>
                    </a:lnTo>
                    <a:lnTo>
                      <a:pt x="1149" y="410"/>
                    </a:lnTo>
                    <a:lnTo>
                      <a:pt x="1147" y="415"/>
                    </a:lnTo>
                    <a:lnTo>
                      <a:pt x="1144" y="420"/>
                    </a:lnTo>
                    <a:lnTo>
                      <a:pt x="1139" y="429"/>
                    </a:lnTo>
                    <a:lnTo>
                      <a:pt x="918" y="933"/>
                    </a:lnTo>
                    <a:lnTo>
                      <a:pt x="910" y="944"/>
                    </a:lnTo>
                    <a:lnTo>
                      <a:pt x="900" y="953"/>
                    </a:lnTo>
                    <a:lnTo>
                      <a:pt x="889" y="958"/>
                    </a:lnTo>
                    <a:lnTo>
                      <a:pt x="876" y="960"/>
                    </a:lnTo>
                    <a:lnTo>
                      <a:pt x="866" y="959"/>
                    </a:lnTo>
                    <a:lnTo>
                      <a:pt x="857" y="957"/>
                    </a:lnTo>
                    <a:lnTo>
                      <a:pt x="846" y="949"/>
                    </a:lnTo>
                    <a:lnTo>
                      <a:pt x="838" y="939"/>
                    </a:lnTo>
                    <a:lnTo>
                      <a:pt x="833" y="927"/>
                    </a:lnTo>
                    <a:lnTo>
                      <a:pt x="640" y="494"/>
                    </a:lnTo>
                    <a:lnTo>
                      <a:pt x="637" y="479"/>
                    </a:lnTo>
                    <a:lnTo>
                      <a:pt x="638" y="465"/>
                    </a:lnTo>
                    <a:lnTo>
                      <a:pt x="643" y="452"/>
                    </a:lnTo>
                    <a:lnTo>
                      <a:pt x="652" y="442"/>
                    </a:lnTo>
                    <a:lnTo>
                      <a:pt x="664" y="434"/>
                    </a:lnTo>
                    <a:lnTo>
                      <a:pt x="678" y="429"/>
                    </a:lnTo>
                    <a:lnTo>
                      <a:pt x="692" y="431"/>
                    </a:lnTo>
                    <a:lnTo>
                      <a:pt x="704" y="436"/>
                    </a:lnTo>
                    <a:lnTo>
                      <a:pt x="716" y="444"/>
                    </a:lnTo>
                    <a:lnTo>
                      <a:pt x="724" y="456"/>
                    </a:lnTo>
                    <a:lnTo>
                      <a:pt x="876" y="801"/>
                    </a:lnTo>
                    <a:lnTo>
                      <a:pt x="1057" y="389"/>
                    </a:lnTo>
                    <a:lnTo>
                      <a:pt x="1057" y="389"/>
                    </a:lnTo>
                    <a:lnTo>
                      <a:pt x="1075" y="357"/>
                    </a:lnTo>
                    <a:lnTo>
                      <a:pt x="1097" y="329"/>
                    </a:lnTo>
                    <a:lnTo>
                      <a:pt x="1122" y="303"/>
                    </a:lnTo>
                    <a:lnTo>
                      <a:pt x="1151" y="282"/>
                    </a:lnTo>
                    <a:lnTo>
                      <a:pt x="1182" y="265"/>
                    </a:lnTo>
                    <a:lnTo>
                      <a:pt x="1217" y="253"/>
                    </a:lnTo>
                    <a:lnTo>
                      <a:pt x="1253" y="246"/>
                    </a:lnTo>
                    <a:lnTo>
                      <a:pt x="1254" y="246"/>
                    </a:lnTo>
                    <a:lnTo>
                      <a:pt x="1256" y="246"/>
                    </a:lnTo>
                    <a:lnTo>
                      <a:pt x="1258" y="245"/>
                    </a:lnTo>
                    <a:lnTo>
                      <a:pt x="1262" y="245"/>
                    </a:lnTo>
                    <a:lnTo>
                      <a:pt x="1265" y="245"/>
                    </a:lnTo>
                    <a:lnTo>
                      <a:pt x="1267" y="245"/>
                    </a:lnTo>
                    <a:lnTo>
                      <a:pt x="1273" y="245"/>
                    </a:lnTo>
                    <a:lnTo>
                      <a:pt x="1282" y="243"/>
                    </a:lnTo>
                    <a:lnTo>
                      <a:pt x="1290" y="245"/>
                    </a:lnTo>
                    <a:lnTo>
                      <a:pt x="1294" y="245"/>
                    </a:lnTo>
                    <a:lnTo>
                      <a:pt x="1301" y="245"/>
                    </a:lnTo>
                    <a:lnTo>
                      <a:pt x="1342" y="250"/>
                    </a:lnTo>
                    <a:lnTo>
                      <a:pt x="1379" y="263"/>
                    </a:lnTo>
                    <a:lnTo>
                      <a:pt x="1414" y="281"/>
                    </a:lnTo>
                    <a:lnTo>
                      <a:pt x="1445" y="304"/>
                    </a:lnTo>
                    <a:lnTo>
                      <a:pt x="1452" y="311"/>
                    </a:lnTo>
                    <a:lnTo>
                      <a:pt x="1457" y="316"/>
                    </a:lnTo>
                    <a:lnTo>
                      <a:pt x="1479" y="340"/>
                    </a:lnTo>
                    <a:lnTo>
                      <a:pt x="1497" y="367"/>
                    </a:lnTo>
                    <a:lnTo>
                      <a:pt x="1496" y="367"/>
                    </a:lnTo>
                    <a:lnTo>
                      <a:pt x="1509" y="396"/>
                    </a:lnTo>
                    <a:lnTo>
                      <a:pt x="1519" y="425"/>
                    </a:lnTo>
                    <a:lnTo>
                      <a:pt x="1525" y="455"/>
                    </a:lnTo>
                    <a:lnTo>
                      <a:pt x="1527" y="487"/>
                    </a:lnTo>
                    <a:lnTo>
                      <a:pt x="1527" y="496"/>
                    </a:lnTo>
                    <a:lnTo>
                      <a:pt x="1571" y="511"/>
                    </a:lnTo>
                    <a:lnTo>
                      <a:pt x="1611" y="530"/>
                    </a:lnTo>
                    <a:lnTo>
                      <a:pt x="1648" y="554"/>
                    </a:lnTo>
                    <a:lnTo>
                      <a:pt x="1682" y="584"/>
                    </a:lnTo>
                    <a:lnTo>
                      <a:pt x="1711" y="618"/>
                    </a:lnTo>
                    <a:lnTo>
                      <a:pt x="1736" y="654"/>
                    </a:lnTo>
                    <a:lnTo>
                      <a:pt x="1756" y="694"/>
                    </a:lnTo>
                    <a:lnTo>
                      <a:pt x="1772" y="737"/>
                    </a:lnTo>
                    <a:lnTo>
                      <a:pt x="1781" y="782"/>
                    </a:lnTo>
                    <a:lnTo>
                      <a:pt x="1784" y="828"/>
                    </a:lnTo>
                    <a:lnTo>
                      <a:pt x="1781" y="874"/>
                    </a:lnTo>
                    <a:lnTo>
                      <a:pt x="1772" y="919"/>
                    </a:lnTo>
                    <a:lnTo>
                      <a:pt x="1757" y="962"/>
                    </a:lnTo>
                    <a:lnTo>
                      <a:pt x="1737" y="1002"/>
                    </a:lnTo>
                    <a:lnTo>
                      <a:pt x="1712" y="1038"/>
                    </a:lnTo>
                    <a:lnTo>
                      <a:pt x="1683" y="1072"/>
                    </a:lnTo>
                    <a:lnTo>
                      <a:pt x="1651" y="1100"/>
                    </a:lnTo>
                    <a:lnTo>
                      <a:pt x="1615" y="1125"/>
                    </a:lnTo>
                    <a:lnTo>
                      <a:pt x="1574" y="1145"/>
                    </a:lnTo>
                    <a:lnTo>
                      <a:pt x="1533" y="1159"/>
                    </a:lnTo>
                    <a:lnTo>
                      <a:pt x="1488" y="1168"/>
                    </a:lnTo>
                    <a:lnTo>
                      <a:pt x="1442" y="1172"/>
                    </a:lnTo>
                    <a:lnTo>
                      <a:pt x="1424" y="1172"/>
                    </a:lnTo>
                    <a:lnTo>
                      <a:pt x="360" y="1172"/>
                    </a:lnTo>
                    <a:lnTo>
                      <a:pt x="343" y="1172"/>
                    </a:lnTo>
                    <a:lnTo>
                      <a:pt x="295" y="1168"/>
                    </a:lnTo>
                    <a:lnTo>
                      <a:pt x="252" y="1159"/>
                    </a:lnTo>
                    <a:lnTo>
                      <a:pt x="209" y="1145"/>
                    </a:lnTo>
                    <a:lnTo>
                      <a:pt x="170" y="1125"/>
                    </a:lnTo>
                    <a:lnTo>
                      <a:pt x="133" y="1100"/>
                    </a:lnTo>
                    <a:lnTo>
                      <a:pt x="100" y="1072"/>
                    </a:lnTo>
                    <a:lnTo>
                      <a:pt x="71" y="1038"/>
                    </a:lnTo>
                    <a:lnTo>
                      <a:pt x="46" y="1002"/>
                    </a:lnTo>
                    <a:lnTo>
                      <a:pt x="27" y="962"/>
                    </a:lnTo>
                    <a:lnTo>
                      <a:pt x="12" y="919"/>
                    </a:lnTo>
                    <a:lnTo>
                      <a:pt x="3" y="874"/>
                    </a:lnTo>
                    <a:lnTo>
                      <a:pt x="0" y="828"/>
                    </a:lnTo>
                    <a:lnTo>
                      <a:pt x="2" y="783"/>
                    </a:lnTo>
                    <a:lnTo>
                      <a:pt x="11" y="739"/>
                    </a:lnTo>
                    <a:lnTo>
                      <a:pt x="26" y="698"/>
                    </a:lnTo>
                    <a:lnTo>
                      <a:pt x="45" y="658"/>
                    </a:lnTo>
                    <a:lnTo>
                      <a:pt x="69" y="622"/>
                    </a:lnTo>
                    <a:lnTo>
                      <a:pt x="97" y="589"/>
                    </a:lnTo>
                    <a:lnTo>
                      <a:pt x="129" y="560"/>
                    </a:lnTo>
                    <a:lnTo>
                      <a:pt x="164" y="535"/>
                    </a:lnTo>
                    <a:lnTo>
                      <a:pt x="202" y="515"/>
                    </a:lnTo>
                    <a:lnTo>
                      <a:pt x="243" y="499"/>
                    </a:lnTo>
                    <a:lnTo>
                      <a:pt x="286" y="489"/>
                    </a:lnTo>
                    <a:lnTo>
                      <a:pt x="285" y="461"/>
                    </a:lnTo>
                    <a:lnTo>
                      <a:pt x="289" y="407"/>
                    </a:lnTo>
                    <a:lnTo>
                      <a:pt x="298" y="355"/>
                    </a:lnTo>
                    <a:lnTo>
                      <a:pt x="312" y="305"/>
                    </a:lnTo>
                    <a:lnTo>
                      <a:pt x="333" y="258"/>
                    </a:lnTo>
                    <a:lnTo>
                      <a:pt x="357" y="214"/>
                    </a:lnTo>
                    <a:lnTo>
                      <a:pt x="386" y="173"/>
                    </a:lnTo>
                    <a:lnTo>
                      <a:pt x="420" y="135"/>
                    </a:lnTo>
                    <a:lnTo>
                      <a:pt x="458" y="102"/>
                    </a:lnTo>
                    <a:lnTo>
                      <a:pt x="499" y="71"/>
                    </a:lnTo>
                    <a:lnTo>
                      <a:pt x="544" y="46"/>
                    </a:lnTo>
                    <a:lnTo>
                      <a:pt x="591" y="26"/>
                    </a:lnTo>
                    <a:lnTo>
                      <a:pt x="640" y="11"/>
                    </a:lnTo>
                    <a:lnTo>
                      <a:pt x="692" y="2"/>
                    </a:lnTo>
                    <a:lnTo>
                      <a:pt x="7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9"/>
              <p:cNvSpPr>
                <a:spLocks noEditPoints="1"/>
              </p:cNvSpPr>
              <p:nvPr userDrawn="1"/>
            </p:nvSpPr>
            <p:spPr bwMode="auto">
              <a:xfrm>
                <a:off x="5187951" y="2438401"/>
                <a:ext cx="88900" cy="44450"/>
              </a:xfrm>
              <a:custGeom>
                <a:avLst/>
                <a:gdLst>
                  <a:gd name="T0" fmla="*/ 55 w 113"/>
                  <a:gd name="T1" fmla="*/ 0 h 57"/>
                  <a:gd name="T2" fmla="*/ 63 w 113"/>
                  <a:gd name="T3" fmla="*/ 0 h 57"/>
                  <a:gd name="T4" fmla="*/ 83 w 113"/>
                  <a:gd name="T5" fmla="*/ 50 h 57"/>
                  <a:gd name="T6" fmla="*/ 105 w 113"/>
                  <a:gd name="T7" fmla="*/ 0 h 57"/>
                  <a:gd name="T8" fmla="*/ 113 w 113"/>
                  <a:gd name="T9" fmla="*/ 0 h 57"/>
                  <a:gd name="T10" fmla="*/ 113 w 113"/>
                  <a:gd name="T11" fmla="*/ 57 h 57"/>
                  <a:gd name="T12" fmla="*/ 108 w 113"/>
                  <a:gd name="T13" fmla="*/ 57 h 57"/>
                  <a:gd name="T14" fmla="*/ 108 w 113"/>
                  <a:gd name="T15" fmla="*/ 5 h 57"/>
                  <a:gd name="T16" fmla="*/ 107 w 113"/>
                  <a:gd name="T17" fmla="*/ 5 h 57"/>
                  <a:gd name="T18" fmla="*/ 86 w 113"/>
                  <a:gd name="T19" fmla="*/ 57 h 57"/>
                  <a:gd name="T20" fmla="*/ 82 w 113"/>
                  <a:gd name="T21" fmla="*/ 57 h 57"/>
                  <a:gd name="T22" fmla="*/ 61 w 113"/>
                  <a:gd name="T23" fmla="*/ 5 h 57"/>
                  <a:gd name="T24" fmla="*/ 60 w 113"/>
                  <a:gd name="T25" fmla="*/ 5 h 57"/>
                  <a:gd name="T26" fmla="*/ 60 w 113"/>
                  <a:gd name="T27" fmla="*/ 57 h 57"/>
                  <a:gd name="T28" fmla="*/ 55 w 113"/>
                  <a:gd name="T29" fmla="*/ 57 h 57"/>
                  <a:gd name="T30" fmla="*/ 55 w 113"/>
                  <a:gd name="T31" fmla="*/ 0 h 57"/>
                  <a:gd name="T32" fmla="*/ 0 w 113"/>
                  <a:gd name="T33" fmla="*/ 0 h 57"/>
                  <a:gd name="T34" fmla="*/ 42 w 113"/>
                  <a:gd name="T35" fmla="*/ 0 h 57"/>
                  <a:gd name="T36" fmla="*/ 42 w 113"/>
                  <a:gd name="T37" fmla="*/ 5 h 57"/>
                  <a:gd name="T38" fmla="*/ 24 w 113"/>
                  <a:gd name="T39" fmla="*/ 5 h 57"/>
                  <a:gd name="T40" fmla="*/ 24 w 113"/>
                  <a:gd name="T41" fmla="*/ 57 h 57"/>
                  <a:gd name="T42" fmla="*/ 18 w 113"/>
                  <a:gd name="T43" fmla="*/ 57 h 57"/>
                  <a:gd name="T44" fmla="*/ 18 w 113"/>
                  <a:gd name="T45" fmla="*/ 5 h 57"/>
                  <a:gd name="T46" fmla="*/ 0 w 113"/>
                  <a:gd name="T47" fmla="*/ 5 h 57"/>
                  <a:gd name="T48" fmla="*/ 0 w 113"/>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57">
                    <a:moveTo>
                      <a:pt x="55" y="0"/>
                    </a:moveTo>
                    <a:lnTo>
                      <a:pt x="63" y="0"/>
                    </a:lnTo>
                    <a:lnTo>
                      <a:pt x="83" y="50"/>
                    </a:lnTo>
                    <a:lnTo>
                      <a:pt x="105" y="0"/>
                    </a:lnTo>
                    <a:lnTo>
                      <a:pt x="113" y="0"/>
                    </a:lnTo>
                    <a:lnTo>
                      <a:pt x="113" y="57"/>
                    </a:lnTo>
                    <a:lnTo>
                      <a:pt x="108" y="57"/>
                    </a:lnTo>
                    <a:lnTo>
                      <a:pt x="108" y="5"/>
                    </a:lnTo>
                    <a:lnTo>
                      <a:pt x="107" y="5"/>
                    </a:lnTo>
                    <a:lnTo>
                      <a:pt x="86" y="57"/>
                    </a:lnTo>
                    <a:lnTo>
                      <a:pt x="82" y="57"/>
                    </a:lnTo>
                    <a:lnTo>
                      <a:pt x="61" y="5"/>
                    </a:lnTo>
                    <a:lnTo>
                      <a:pt x="60" y="5"/>
                    </a:lnTo>
                    <a:lnTo>
                      <a:pt x="60" y="57"/>
                    </a:lnTo>
                    <a:lnTo>
                      <a:pt x="55" y="57"/>
                    </a:lnTo>
                    <a:lnTo>
                      <a:pt x="55" y="0"/>
                    </a:lnTo>
                    <a:close/>
                    <a:moveTo>
                      <a:pt x="0" y="0"/>
                    </a:moveTo>
                    <a:lnTo>
                      <a:pt x="42" y="0"/>
                    </a:lnTo>
                    <a:lnTo>
                      <a:pt x="42" y="5"/>
                    </a:lnTo>
                    <a:lnTo>
                      <a:pt x="24" y="5"/>
                    </a:lnTo>
                    <a:lnTo>
                      <a:pt x="24" y="57"/>
                    </a:lnTo>
                    <a:lnTo>
                      <a:pt x="18" y="57"/>
                    </a:lnTo>
                    <a:lnTo>
                      <a:pt x="18" y="5"/>
                    </a:lnTo>
                    <a:lnTo>
                      <a:pt x="0" y="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cSld>
  <p:clrMapOvr>
    <a:masterClrMapping/>
  </p:clrMapOvr>
  <p:transition>
    <p:fade/>
  </p:transition>
  <p:extLst mod="1">
    <p:ext uri="{DCECCB84-F9BA-43D5-87BE-67443E8EF086}">
      <p15:sldGuideLst xmlns:p15="http://schemas.microsoft.com/office/powerpoint/2012/main">
        <p15:guide id="1" orient="horz" pos="636">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Viya Teal Section">
    <p:bg>
      <p:bgPr>
        <a:gradFill>
          <a:gsLst>
            <a:gs pos="0">
              <a:srgbClr val="19BBB7"/>
            </a:gs>
            <a:gs pos="100000">
              <a:srgbClr val="00727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6"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0C3D2"/>
                </a:solidFill>
                <a:effectLst/>
                <a:uLnTx/>
                <a:uFillTx/>
                <a:latin typeface="+mn-lt"/>
                <a:ea typeface="Calibri" charset="0"/>
                <a:cs typeface="Arial" panose="020B0604020202020204" pitchFamily="34" charset="0"/>
              </a:rPr>
              <a:t>Copyright © 2019 Scott Mongeau All rights reserved.</a:t>
            </a:r>
          </a:p>
        </p:txBody>
      </p:sp>
      <p:grpSp>
        <p:nvGrpSpPr>
          <p:cNvPr id="30" name="Group 4"/>
          <p:cNvGrpSpPr>
            <a:grpSpLocks noChangeAspect="1"/>
          </p:cNvGrpSpPr>
          <p:nvPr userDrawn="1"/>
        </p:nvGrpSpPr>
        <p:grpSpPr bwMode="auto">
          <a:xfrm>
            <a:off x="3703320" y="365760"/>
            <a:ext cx="1683695" cy="356616"/>
            <a:chOff x="1416" y="456"/>
            <a:chExt cx="2880" cy="610"/>
          </a:xfrm>
          <a:solidFill>
            <a:schemeClr val="bg1"/>
          </a:solidFill>
        </p:grpSpPr>
        <p:sp>
          <p:nvSpPr>
            <p:cNvPr id="31" name="Freeform 30"/>
            <p:cNvSpPr>
              <a:spLocks noEditPoints="1"/>
            </p:cNvSpPr>
            <p:nvPr/>
          </p:nvSpPr>
          <p:spPr bwMode="auto">
            <a:xfrm>
              <a:off x="2451" y="578"/>
              <a:ext cx="1845" cy="488"/>
            </a:xfrm>
            <a:custGeom>
              <a:avLst/>
              <a:gdLst>
                <a:gd name="T0" fmla="*/ 3043 w 3068"/>
                <a:gd name="T1" fmla="*/ 214 h 801"/>
                <a:gd name="T2" fmla="*/ 3025 w 3068"/>
                <a:gd name="T3" fmla="*/ 221 h 801"/>
                <a:gd name="T4" fmla="*/ 3021 w 3068"/>
                <a:gd name="T5" fmla="*/ 203 h 801"/>
                <a:gd name="T6" fmla="*/ 3047 w 3068"/>
                <a:gd name="T7" fmla="*/ 214 h 801"/>
                <a:gd name="T8" fmla="*/ 3044 w 3068"/>
                <a:gd name="T9" fmla="*/ 242 h 801"/>
                <a:gd name="T10" fmla="*/ 3025 w 3068"/>
                <a:gd name="T11" fmla="*/ 242 h 801"/>
                <a:gd name="T12" fmla="*/ 3021 w 3068"/>
                <a:gd name="T13" fmla="*/ 203 h 801"/>
                <a:gd name="T14" fmla="*/ 3064 w 3068"/>
                <a:gd name="T15" fmla="*/ 223 h 801"/>
                <a:gd name="T16" fmla="*/ 3033 w 3068"/>
                <a:gd name="T17" fmla="*/ 254 h 801"/>
                <a:gd name="T18" fmla="*/ 3033 w 3068"/>
                <a:gd name="T19" fmla="*/ 188 h 801"/>
                <a:gd name="T20" fmla="*/ 2998 w 3068"/>
                <a:gd name="T21" fmla="*/ 223 h 801"/>
                <a:gd name="T22" fmla="*/ 2952 w 3068"/>
                <a:gd name="T23" fmla="*/ 420 h 801"/>
                <a:gd name="T24" fmla="*/ 2905 w 3068"/>
                <a:gd name="T25" fmla="*/ 398 h 801"/>
                <a:gd name="T26" fmla="*/ 2952 w 3068"/>
                <a:gd name="T27" fmla="*/ 420 h 801"/>
                <a:gd name="T28" fmla="*/ 2679 w 3068"/>
                <a:gd name="T29" fmla="*/ 501 h 801"/>
                <a:gd name="T30" fmla="*/ 2952 w 3068"/>
                <a:gd name="T31" fmla="*/ 349 h 801"/>
                <a:gd name="T32" fmla="*/ 2703 w 3068"/>
                <a:gd name="T33" fmla="*/ 258 h 801"/>
                <a:gd name="T34" fmla="*/ 2980 w 3068"/>
                <a:gd name="T35" fmla="*/ 516 h 801"/>
                <a:gd name="T36" fmla="*/ 2953 w 3068"/>
                <a:gd name="T37" fmla="*/ 520 h 801"/>
                <a:gd name="T38" fmla="*/ 2679 w 3068"/>
                <a:gd name="T39" fmla="*/ 501 h 801"/>
                <a:gd name="T40" fmla="*/ 2305 w 3068"/>
                <a:gd name="T41" fmla="*/ 796 h 801"/>
                <a:gd name="T42" fmla="*/ 2421 w 3068"/>
                <a:gd name="T43" fmla="*/ 702 h 801"/>
                <a:gd name="T44" fmla="*/ 2334 w 3068"/>
                <a:gd name="T45" fmla="*/ 220 h 801"/>
                <a:gd name="T46" fmla="*/ 2635 w 3068"/>
                <a:gd name="T47" fmla="*/ 220 h 801"/>
                <a:gd name="T48" fmla="*/ 2305 w 3068"/>
                <a:gd name="T49" fmla="*/ 796 h 801"/>
                <a:gd name="T50" fmla="*/ 2172 w 3068"/>
                <a:gd name="T51" fmla="*/ 220 h 801"/>
                <a:gd name="T52" fmla="*/ 2172 w 3068"/>
                <a:gd name="T53" fmla="*/ 602 h 801"/>
                <a:gd name="T54" fmla="*/ 2187 w 3068"/>
                <a:gd name="T55" fmla="*/ 86 h 801"/>
                <a:gd name="T56" fmla="*/ 2212 w 3068"/>
                <a:gd name="T57" fmla="*/ 59 h 801"/>
                <a:gd name="T58" fmla="*/ 1869 w 3068"/>
                <a:gd name="T59" fmla="*/ 566 h 801"/>
                <a:gd name="T60" fmla="*/ 2080 w 3068"/>
                <a:gd name="T61" fmla="*/ 16 h 801"/>
                <a:gd name="T62" fmla="*/ 1851 w 3068"/>
                <a:gd name="T63" fmla="*/ 602 h 801"/>
                <a:gd name="T64" fmla="*/ 1869 w 3068"/>
                <a:gd name="T65" fmla="*/ 566 h 801"/>
                <a:gd name="T66" fmla="*/ 1422 w 3068"/>
                <a:gd name="T67" fmla="*/ 39 h 801"/>
                <a:gd name="T68" fmla="*/ 1415 w 3068"/>
                <a:gd name="T69" fmla="*/ 24 h 801"/>
                <a:gd name="T70" fmla="*/ 1422 w 3068"/>
                <a:gd name="T71" fmla="*/ 39 h 801"/>
                <a:gd name="T72" fmla="*/ 1424 w 3068"/>
                <a:gd name="T73" fmla="*/ 20 h 801"/>
                <a:gd name="T74" fmla="*/ 1439 w 3068"/>
                <a:gd name="T75" fmla="*/ 59 h 801"/>
                <a:gd name="T76" fmla="*/ 1415 w 3068"/>
                <a:gd name="T77" fmla="*/ 42 h 801"/>
                <a:gd name="T78" fmla="*/ 1411 w 3068"/>
                <a:gd name="T79" fmla="*/ 20 h 801"/>
                <a:gd name="T80" fmla="*/ 1423 w 3068"/>
                <a:gd name="T81" fmla="*/ 71 h 801"/>
                <a:gd name="T82" fmla="*/ 1392 w 3068"/>
                <a:gd name="T83" fmla="*/ 40 h 801"/>
                <a:gd name="T84" fmla="*/ 1423 w 3068"/>
                <a:gd name="T85" fmla="*/ 5 h 801"/>
                <a:gd name="T86" fmla="*/ 1423 w 3068"/>
                <a:gd name="T87" fmla="*/ 75 h 801"/>
                <a:gd name="T88" fmla="*/ 1423 w 3068"/>
                <a:gd name="T89" fmla="*/ 5 h 801"/>
                <a:gd name="T90" fmla="*/ 1187 w 3068"/>
                <a:gd name="T91" fmla="*/ 28 h 801"/>
                <a:gd name="T92" fmla="*/ 1172 w 3068"/>
                <a:gd name="T93" fmla="*/ 617 h 801"/>
                <a:gd name="T94" fmla="*/ 1172 w 3068"/>
                <a:gd name="T95" fmla="*/ 589 h 801"/>
                <a:gd name="T96" fmla="*/ 1188 w 3068"/>
                <a:gd name="T97" fmla="*/ 0 h 801"/>
                <a:gd name="T98" fmla="*/ 1319 w 3068"/>
                <a:gd name="T99" fmla="*/ 87 h 801"/>
                <a:gd name="T100" fmla="*/ 832 w 3068"/>
                <a:gd name="T101" fmla="*/ 411 h 801"/>
                <a:gd name="T102" fmla="*/ 526 w 3068"/>
                <a:gd name="T103" fmla="*/ 411 h 801"/>
                <a:gd name="T104" fmla="*/ 412 w 3068"/>
                <a:gd name="T105" fmla="*/ 602 h 801"/>
                <a:gd name="T106" fmla="*/ 945 w 3068"/>
                <a:gd name="T107" fmla="*/ 602 h 801"/>
                <a:gd name="T108" fmla="*/ 514 w 3068"/>
                <a:gd name="T109" fmla="*/ 438 h 801"/>
                <a:gd name="T110" fmla="*/ 322 w 3068"/>
                <a:gd name="T111" fmla="*/ 87 h 801"/>
                <a:gd name="T112" fmla="*/ 40 w 3068"/>
                <a:gd name="T113" fmla="*/ 155 h 801"/>
                <a:gd name="T114" fmla="*/ 0 w 3068"/>
                <a:gd name="T115" fmla="*/ 542 h 801"/>
                <a:gd name="T116" fmla="*/ 326 w 3068"/>
                <a:gd name="T117" fmla="*/ 459 h 801"/>
                <a:gd name="T118" fmla="*/ 346 w 3068"/>
                <a:gd name="T119" fmla="*/ 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68" h="801">
                  <a:moveTo>
                    <a:pt x="3032" y="221"/>
                  </a:moveTo>
                  <a:lnTo>
                    <a:pt x="3032" y="221"/>
                  </a:lnTo>
                  <a:cubicBezTo>
                    <a:pt x="3038" y="221"/>
                    <a:pt x="3043" y="220"/>
                    <a:pt x="3043" y="214"/>
                  </a:cubicBezTo>
                  <a:cubicBezTo>
                    <a:pt x="3043" y="208"/>
                    <a:pt x="3038" y="207"/>
                    <a:pt x="3034" y="207"/>
                  </a:cubicBezTo>
                  <a:lnTo>
                    <a:pt x="3025" y="207"/>
                  </a:lnTo>
                  <a:lnTo>
                    <a:pt x="3025" y="221"/>
                  </a:lnTo>
                  <a:lnTo>
                    <a:pt x="3032" y="221"/>
                  </a:lnTo>
                  <a:lnTo>
                    <a:pt x="3032" y="221"/>
                  </a:lnTo>
                  <a:close/>
                  <a:moveTo>
                    <a:pt x="3021" y="203"/>
                  </a:moveTo>
                  <a:lnTo>
                    <a:pt x="3021" y="203"/>
                  </a:lnTo>
                  <a:lnTo>
                    <a:pt x="3034" y="203"/>
                  </a:lnTo>
                  <a:cubicBezTo>
                    <a:pt x="3042" y="203"/>
                    <a:pt x="3047" y="206"/>
                    <a:pt x="3047" y="214"/>
                  </a:cubicBezTo>
                  <a:cubicBezTo>
                    <a:pt x="3047" y="220"/>
                    <a:pt x="3043" y="224"/>
                    <a:pt x="3037" y="224"/>
                  </a:cubicBezTo>
                  <a:lnTo>
                    <a:pt x="3049" y="242"/>
                  </a:lnTo>
                  <a:lnTo>
                    <a:pt x="3044" y="242"/>
                  </a:lnTo>
                  <a:lnTo>
                    <a:pt x="3033" y="225"/>
                  </a:lnTo>
                  <a:lnTo>
                    <a:pt x="3025" y="225"/>
                  </a:lnTo>
                  <a:lnTo>
                    <a:pt x="3025" y="242"/>
                  </a:lnTo>
                  <a:lnTo>
                    <a:pt x="3021" y="242"/>
                  </a:lnTo>
                  <a:lnTo>
                    <a:pt x="3021" y="203"/>
                  </a:lnTo>
                  <a:lnTo>
                    <a:pt x="3021" y="203"/>
                  </a:lnTo>
                  <a:close/>
                  <a:moveTo>
                    <a:pt x="3033" y="254"/>
                  </a:moveTo>
                  <a:lnTo>
                    <a:pt x="3033" y="254"/>
                  </a:lnTo>
                  <a:cubicBezTo>
                    <a:pt x="3051" y="254"/>
                    <a:pt x="3064" y="240"/>
                    <a:pt x="3064" y="223"/>
                  </a:cubicBezTo>
                  <a:cubicBezTo>
                    <a:pt x="3064" y="205"/>
                    <a:pt x="3051" y="192"/>
                    <a:pt x="3033" y="192"/>
                  </a:cubicBezTo>
                  <a:cubicBezTo>
                    <a:pt x="3016" y="192"/>
                    <a:pt x="3002" y="205"/>
                    <a:pt x="3002" y="223"/>
                  </a:cubicBezTo>
                  <a:cubicBezTo>
                    <a:pt x="3002" y="240"/>
                    <a:pt x="3016" y="254"/>
                    <a:pt x="3033" y="254"/>
                  </a:cubicBezTo>
                  <a:lnTo>
                    <a:pt x="3033" y="254"/>
                  </a:lnTo>
                  <a:close/>
                  <a:moveTo>
                    <a:pt x="3033" y="188"/>
                  </a:moveTo>
                  <a:lnTo>
                    <a:pt x="3033" y="188"/>
                  </a:lnTo>
                  <a:cubicBezTo>
                    <a:pt x="3053" y="188"/>
                    <a:pt x="3068" y="203"/>
                    <a:pt x="3068" y="223"/>
                  </a:cubicBezTo>
                  <a:cubicBezTo>
                    <a:pt x="3068" y="242"/>
                    <a:pt x="3053" y="257"/>
                    <a:pt x="3033" y="257"/>
                  </a:cubicBezTo>
                  <a:cubicBezTo>
                    <a:pt x="3014" y="257"/>
                    <a:pt x="2998" y="242"/>
                    <a:pt x="2998" y="223"/>
                  </a:cubicBezTo>
                  <a:cubicBezTo>
                    <a:pt x="2998" y="203"/>
                    <a:pt x="3014" y="188"/>
                    <a:pt x="3033" y="188"/>
                  </a:cubicBezTo>
                  <a:lnTo>
                    <a:pt x="3033" y="188"/>
                  </a:lnTo>
                  <a:close/>
                  <a:moveTo>
                    <a:pt x="2952" y="420"/>
                  </a:moveTo>
                  <a:lnTo>
                    <a:pt x="2952" y="420"/>
                  </a:lnTo>
                  <a:lnTo>
                    <a:pt x="2952" y="398"/>
                  </a:lnTo>
                  <a:lnTo>
                    <a:pt x="2905" y="398"/>
                  </a:lnTo>
                  <a:cubicBezTo>
                    <a:pt x="2819" y="398"/>
                    <a:pt x="2708" y="411"/>
                    <a:pt x="2708" y="500"/>
                  </a:cubicBezTo>
                  <a:cubicBezTo>
                    <a:pt x="2708" y="565"/>
                    <a:pt x="2766" y="588"/>
                    <a:pt x="2813" y="588"/>
                  </a:cubicBezTo>
                  <a:cubicBezTo>
                    <a:pt x="2913" y="588"/>
                    <a:pt x="2952" y="504"/>
                    <a:pt x="2952" y="420"/>
                  </a:cubicBezTo>
                  <a:lnTo>
                    <a:pt x="2952" y="420"/>
                  </a:lnTo>
                  <a:close/>
                  <a:moveTo>
                    <a:pt x="2679" y="501"/>
                  </a:moveTo>
                  <a:lnTo>
                    <a:pt x="2679" y="501"/>
                  </a:lnTo>
                  <a:cubicBezTo>
                    <a:pt x="2679" y="391"/>
                    <a:pt x="2802" y="374"/>
                    <a:pt x="2897" y="374"/>
                  </a:cubicBezTo>
                  <a:lnTo>
                    <a:pt x="2952" y="374"/>
                  </a:lnTo>
                  <a:lnTo>
                    <a:pt x="2952" y="349"/>
                  </a:lnTo>
                  <a:cubicBezTo>
                    <a:pt x="2952" y="270"/>
                    <a:pt x="2906" y="234"/>
                    <a:pt x="2835" y="234"/>
                  </a:cubicBezTo>
                  <a:cubicBezTo>
                    <a:pt x="2789" y="234"/>
                    <a:pt x="2749" y="252"/>
                    <a:pt x="2719" y="279"/>
                  </a:cubicBezTo>
                  <a:lnTo>
                    <a:pt x="2703" y="258"/>
                  </a:lnTo>
                  <a:cubicBezTo>
                    <a:pt x="2736" y="227"/>
                    <a:pt x="2786" y="208"/>
                    <a:pt x="2837" y="208"/>
                  </a:cubicBezTo>
                  <a:cubicBezTo>
                    <a:pt x="2923" y="208"/>
                    <a:pt x="2980" y="253"/>
                    <a:pt x="2980" y="348"/>
                  </a:cubicBezTo>
                  <a:lnTo>
                    <a:pt x="2980" y="516"/>
                  </a:lnTo>
                  <a:cubicBezTo>
                    <a:pt x="2980" y="545"/>
                    <a:pt x="2983" y="581"/>
                    <a:pt x="2987" y="602"/>
                  </a:cubicBezTo>
                  <a:lnTo>
                    <a:pt x="2959" y="602"/>
                  </a:lnTo>
                  <a:cubicBezTo>
                    <a:pt x="2956" y="581"/>
                    <a:pt x="2953" y="541"/>
                    <a:pt x="2953" y="520"/>
                  </a:cubicBezTo>
                  <a:lnTo>
                    <a:pt x="2951" y="520"/>
                  </a:lnTo>
                  <a:cubicBezTo>
                    <a:pt x="2925" y="583"/>
                    <a:pt x="2869" y="612"/>
                    <a:pt x="2808" y="612"/>
                  </a:cubicBezTo>
                  <a:cubicBezTo>
                    <a:pt x="2746" y="612"/>
                    <a:pt x="2679" y="579"/>
                    <a:pt x="2679" y="501"/>
                  </a:cubicBezTo>
                  <a:lnTo>
                    <a:pt x="2679" y="501"/>
                  </a:lnTo>
                  <a:close/>
                  <a:moveTo>
                    <a:pt x="2305" y="796"/>
                  </a:moveTo>
                  <a:lnTo>
                    <a:pt x="2305" y="796"/>
                  </a:lnTo>
                  <a:lnTo>
                    <a:pt x="2310" y="769"/>
                  </a:lnTo>
                  <a:cubicBezTo>
                    <a:pt x="2319" y="772"/>
                    <a:pt x="2332" y="774"/>
                    <a:pt x="2344" y="774"/>
                  </a:cubicBezTo>
                  <a:cubicBezTo>
                    <a:pt x="2387" y="774"/>
                    <a:pt x="2407" y="740"/>
                    <a:pt x="2421" y="702"/>
                  </a:cubicBezTo>
                  <a:lnTo>
                    <a:pt x="2456" y="609"/>
                  </a:lnTo>
                  <a:lnTo>
                    <a:pt x="2301" y="220"/>
                  </a:lnTo>
                  <a:lnTo>
                    <a:pt x="2334" y="220"/>
                  </a:lnTo>
                  <a:lnTo>
                    <a:pt x="2472" y="576"/>
                  </a:lnTo>
                  <a:lnTo>
                    <a:pt x="2602" y="220"/>
                  </a:lnTo>
                  <a:lnTo>
                    <a:pt x="2635" y="220"/>
                  </a:lnTo>
                  <a:lnTo>
                    <a:pt x="2444" y="719"/>
                  </a:lnTo>
                  <a:cubicBezTo>
                    <a:pt x="2425" y="770"/>
                    <a:pt x="2396" y="801"/>
                    <a:pt x="2344" y="801"/>
                  </a:cubicBezTo>
                  <a:cubicBezTo>
                    <a:pt x="2332" y="801"/>
                    <a:pt x="2315" y="799"/>
                    <a:pt x="2305" y="796"/>
                  </a:cubicBezTo>
                  <a:lnTo>
                    <a:pt x="2305" y="796"/>
                  </a:lnTo>
                  <a:close/>
                  <a:moveTo>
                    <a:pt x="2172" y="220"/>
                  </a:moveTo>
                  <a:lnTo>
                    <a:pt x="2172" y="220"/>
                  </a:lnTo>
                  <a:lnTo>
                    <a:pt x="2202" y="220"/>
                  </a:lnTo>
                  <a:lnTo>
                    <a:pt x="2202" y="602"/>
                  </a:lnTo>
                  <a:lnTo>
                    <a:pt x="2172" y="602"/>
                  </a:lnTo>
                  <a:lnTo>
                    <a:pt x="2172" y="220"/>
                  </a:lnTo>
                  <a:close/>
                  <a:moveTo>
                    <a:pt x="2187" y="86"/>
                  </a:moveTo>
                  <a:lnTo>
                    <a:pt x="2187" y="86"/>
                  </a:lnTo>
                  <a:cubicBezTo>
                    <a:pt x="2174" y="86"/>
                    <a:pt x="2162" y="76"/>
                    <a:pt x="2162" y="59"/>
                  </a:cubicBezTo>
                  <a:cubicBezTo>
                    <a:pt x="2162" y="44"/>
                    <a:pt x="2174" y="33"/>
                    <a:pt x="2187" y="33"/>
                  </a:cubicBezTo>
                  <a:cubicBezTo>
                    <a:pt x="2200" y="33"/>
                    <a:pt x="2212" y="44"/>
                    <a:pt x="2212" y="59"/>
                  </a:cubicBezTo>
                  <a:cubicBezTo>
                    <a:pt x="2212" y="76"/>
                    <a:pt x="2200" y="86"/>
                    <a:pt x="2187" y="86"/>
                  </a:cubicBezTo>
                  <a:lnTo>
                    <a:pt x="2187" y="86"/>
                  </a:lnTo>
                  <a:close/>
                  <a:moveTo>
                    <a:pt x="1869" y="566"/>
                  </a:moveTo>
                  <a:lnTo>
                    <a:pt x="1869" y="566"/>
                  </a:lnTo>
                  <a:lnTo>
                    <a:pt x="1871" y="566"/>
                  </a:lnTo>
                  <a:lnTo>
                    <a:pt x="2080" y="16"/>
                  </a:lnTo>
                  <a:lnTo>
                    <a:pt x="2113" y="16"/>
                  </a:lnTo>
                  <a:lnTo>
                    <a:pt x="1890" y="602"/>
                  </a:lnTo>
                  <a:lnTo>
                    <a:pt x="1851" y="602"/>
                  </a:lnTo>
                  <a:lnTo>
                    <a:pt x="1629" y="16"/>
                  </a:lnTo>
                  <a:lnTo>
                    <a:pt x="1663" y="16"/>
                  </a:lnTo>
                  <a:lnTo>
                    <a:pt x="1869" y="566"/>
                  </a:lnTo>
                  <a:lnTo>
                    <a:pt x="1869" y="566"/>
                  </a:lnTo>
                  <a:close/>
                  <a:moveTo>
                    <a:pt x="1422" y="39"/>
                  </a:moveTo>
                  <a:lnTo>
                    <a:pt x="1422" y="39"/>
                  </a:lnTo>
                  <a:cubicBezTo>
                    <a:pt x="1428" y="39"/>
                    <a:pt x="1433" y="37"/>
                    <a:pt x="1433" y="31"/>
                  </a:cubicBezTo>
                  <a:cubicBezTo>
                    <a:pt x="1433" y="25"/>
                    <a:pt x="1428" y="24"/>
                    <a:pt x="1424" y="24"/>
                  </a:cubicBezTo>
                  <a:lnTo>
                    <a:pt x="1415" y="24"/>
                  </a:lnTo>
                  <a:lnTo>
                    <a:pt x="1415" y="39"/>
                  </a:lnTo>
                  <a:lnTo>
                    <a:pt x="1422" y="39"/>
                  </a:lnTo>
                  <a:lnTo>
                    <a:pt x="1422" y="39"/>
                  </a:lnTo>
                  <a:close/>
                  <a:moveTo>
                    <a:pt x="1411" y="20"/>
                  </a:moveTo>
                  <a:lnTo>
                    <a:pt x="1411" y="20"/>
                  </a:lnTo>
                  <a:lnTo>
                    <a:pt x="1424" y="20"/>
                  </a:lnTo>
                  <a:cubicBezTo>
                    <a:pt x="1432" y="20"/>
                    <a:pt x="1437" y="24"/>
                    <a:pt x="1437" y="31"/>
                  </a:cubicBezTo>
                  <a:cubicBezTo>
                    <a:pt x="1437" y="38"/>
                    <a:pt x="1433" y="41"/>
                    <a:pt x="1427" y="42"/>
                  </a:cubicBezTo>
                  <a:lnTo>
                    <a:pt x="1439" y="59"/>
                  </a:lnTo>
                  <a:lnTo>
                    <a:pt x="1433" y="59"/>
                  </a:lnTo>
                  <a:lnTo>
                    <a:pt x="1423" y="42"/>
                  </a:lnTo>
                  <a:lnTo>
                    <a:pt x="1415" y="42"/>
                  </a:lnTo>
                  <a:lnTo>
                    <a:pt x="1415" y="59"/>
                  </a:lnTo>
                  <a:lnTo>
                    <a:pt x="1411" y="59"/>
                  </a:lnTo>
                  <a:lnTo>
                    <a:pt x="1411" y="20"/>
                  </a:lnTo>
                  <a:lnTo>
                    <a:pt x="1411" y="20"/>
                  </a:lnTo>
                  <a:close/>
                  <a:moveTo>
                    <a:pt x="1423" y="71"/>
                  </a:moveTo>
                  <a:lnTo>
                    <a:pt x="1423" y="71"/>
                  </a:lnTo>
                  <a:cubicBezTo>
                    <a:pt x="1440" y="71"/>
                    <a:pt x="1454" y="57"/>
                    <a:pt x="1454" y="40"/>
                  </a:cubicBezTo>
                  <a:cubicBezTo>
                    <a:pt x="1454" y="23"/>
                    <a:pt x="1440" y="9"/>
                    <a:pt x="1423" y="9"/>
                  </a:cubicBezTo>
                  <a:cubicBezTo>
                    <a:pt x="1406" y="9"/>
                    <a:pt x="1392" y="23"/>
                    <a:pt x="1392" y="40"/>
                  </a:cubicBezTo>
                  <a:cubicBezTo>
                    <a:pt x="1392" y="57"/>
                    <a:pt x="1406" y="71"/>
                    <a:pt x="1423" y="71"/>
                  </a:cubicBezTo>
                  <a:lnTo>
                    <a:pt x="1423" y="71"/>
                  </a:lnTo>
                  <a:close/>
                  <a:moveTo>
                    <a:pt x="1423" y="5"/>
                  </a:moveTo>
                  <a:lnTo>
                    <a:pt x="1423" y="5"/>
                  </a:lnTo>
                  <a:cubicBezTo>
                    <a:pt x="1443" y="5"/>
                    <a:pt x="1458" y="21"/>
                    <a:pt x="1458" y="40"/>
                  </a:cubicBezTo>
                  <a:cubicBezTo>
                    <a:pt x="1458" y="59"/>
                    <a:pt x="1443" y="75"/>
                    <a:pt x="1423" y="75"/>
                  </a:cubicBezTo>
                  <a:cubicBezTo>
                    <a:pt x="1404" y="75"/>
                    <a:pt x="1388" y="59"/>
                    <a:pt x="1388" y="40"/>
                  </a:cubicBezTo>
                  <a:cubicBezTo>
                    <a:pt x="1388" y="21"/>
                    <a:pt x="1404" y="5"/>
                    <a:pt x="1423" y="5"/>
                  </a:cubicBezTo>
                  <a:lnTo>
                    <a:pt x="1423" y="5"/>
                  </a:lnTo>
                  <a:close/>
                  <a:moveTo>
                    <a:pt x="1319" y="87"/>
                  </a:moveTo>
                  <a:lnTo>
                    <a:pt x="1319" y="87"/>
                  </a:lnTo>
                  <a:cubicBezTo>
                    <a:pt x="1291" y="50"/>
                    <a:pt x="1243" y="28"/>
                    <a:pt x="1187" y="28"/>
                  </a:cubicBezTo>
                  <a:cubicBezTo>
                    <a:pt x="1115" y="28"/>
                    <a:pt x="1037" y="69"/>
                    <a:pt x="1037" y="155"/>
                  </a:cubicBezTo>
                  <a:cubicBezTo>
                    <a:pt x="1037" y="337"/>
                    <a:pt x="1354" y="256"/>
                    <a:pt x="1354" y="457"/>
                  </a:cubicBezTo>
                  <a:cubicBezTo>
                    <a:pt x="1354" y="563"/>
                    <a:pt x="1267" y="617"/>
                    <a:pt x="1172" y="617"/>
                  </a:cubicBezTo>
                  <a:cubicBezTo>
                    <a:pt x="1100" y="617"/>
                    <a:pt x="1037" y="591"/>
                    <a:pt x="996" y="542"/>
                  </a:cubicBezTo>
                  <a:lnTo>
                    <a:pt x="1017" y="521"/>
                  </a:lnTo>
                  <a:cubicBezTo>
                    <a:pt x="1059" y="565"/>
                    <a:pt x="1111" y="589"/>
                    <a:pt x="1172" y="589"/>
                  </a:cubicBezTo>
                  <a:cubicBezTo>
                    <a:pt x="1249" y="589"/>
                    <a:pt x="1322" y="543"/>
                    <a:pt x="1322" y="459"/>
                  </a:cubicBezTo>
                  <a:cubicBezTo>
                    <a:pt x="1322" y="279"/>
                    <a:pt x="1006" y="359"/>
                    <a:pt x="1006" y="156"/>
                  </a:cubicBezTo>
                  <a:cubicBezTo>
                    <a:pt x="1006" y="53"/>
                    <a:pt x="1095" y="0"/>
                    <a:pt x="1188" y="0"/>
                  </a:cubicBezTo>
                  <a:cubicBezTo>
                    <a:pt x="1254" y="0"/>
                    <a:pt x="1310" y="26"/>
                    <a:pt x="1342" y="67"/>
                  </a:cubicBezTo>
                  <a:lnTo>
                    <a:pt x="1319" y="87"/>
                  </a:lnTo>
                  <a:lnTo>
                    <a:pt x="1319" y="87"/>
                  </a:lnTo>
                  <a:close/>
                  <a:moveTo>
                    <a:pt x="526" y="411"/>
                  </a:moveTo>
                  <a:lnTo>
                    <a:pt x="526" y="411"/>
                  </a:lnTo>
                  <a:lnTo>
                    <a:pt x="832" y="411"/>
                  </a:lnTo>
                  <a:lnTo>
                    <a:pt x="681" y="44"/>
                  </a:lnTo>
                  <a:lnTo>
                    <a:pt x="526" y="411"/>
                  </a:lnTo>
                  <a:lnTo>
                    <a:pt x="526" y="411"/>
                  </a:lnTo>
                  <a:close/>
                  <a:moveTo>
                    <a:pt x="446" y="602"/>
                  </a:moveTo>
                  <a:lnTo>
                    <a:pt x="446" y="602"/>
                  </a:lnTo>
                  <a:lnTo>
                    <a:pt x="412" y="602"/>
                  </a:lnTo>
                  <a:lnTo>
                    <a:pt x="665" y="16"/>
                  </a:lnTo>
                  <a:lnTo>
                    <a:pt x="699" y="16"/>
                  </a:lnTo>
                  <a:lnTo>
                    <a:pt x="945" y="602"/>
                  </a:lnTo>
                  <a:lnTo>
                    <a:pt x="911" y="602"/>
                  </a:lnTo>
                  <a:lnTo>
                    <a:pt x="843" y="438"/>
                  </a:lnTo>
                  <a:lnTo>
                    <a:pt x="514" y="438"/>
                  </a:lnTo>
                  <a:lnTo>
                    <a:pt x="446" y="602"/>
                  </a:lnTo>
                  <a:lnTo>
                    <a:pt x="446" y="602"/>
                  </a:lnTo>
                  <a:close/>
                  <a:moveTo>
                    <a:pt x="322" y="87"/>
                  </a:moveTo>
                  <a:lnTo>
                    <a:pt x="322" y="87"/>
                  </a:lnTo>
                  <a:cubicBezTo>
                    <a:pt x="294" y="50"/>
                    <a:pt x="246" y="28"/>
                    <a:pt x="191" y="28"/>
                  </a:cubicBezTo>
                  <a:cubicBezTo>
                    <a:pt x="118" y="28"/>
                    <a:pt x="40" y="69"/>
                    <a:pt x="40" y="155"/>
                  </a:cubicBezTo>
                  <a:cubicBezTo>
                    <a:pt x="40" y="337"/>
                    <a:pt x="357" y="256"/>
                    <a:pt x="357" y="457"/>
                  </a:cubicBezTo>
                  <a:cubicBezTo>
                    <a:pt x="357" y="563"/>
                    <a:pt x="270" y="617"/>
                    <a:pt x="175" y="617"/>
                  </a:cubicBezTo>
                  <a:cubicBezTo>
                    <a:pt x="103" y="617"/>
                    <a:pt x="40" y="591"/>
                    <a:pt x="0" y="542"/>
                  </a:cubicBezTo>
                  <a:lnTo>
                    <a:pt x="21" y="521"/>
                  </a:lnTo>
                  <a:cubicBezTo>
                    <a:pt x="63" y="565"/>
                    <a:pt x="115" y="589"/>
                    <a:pt x="175" y="589"/>
                  </a:cubicBezTo>
                  <a:cubicBezTo>
                    <a:pt x="253" y="589"/>
                    <a:pt x="326" y="543"/>
                    <a:pt x="326" y="459"/>
                  </a:cubicBezTo>
                  <a:cubicBezTo>
                    <a:pt x="326" y="279"/>
                    <a:pt x="10" y="359"/>
                    <a:pt x="10" y="156"/>
                  </a:cubicBezTo>
                  <a:cubicBezTo>
                    <a:pt x="10" y="53"/>
                    <a:pt x="98" y="0"/>
                    <a:pt x="192" y="0"/>
                  </a:cubicBezTo>
                  <a:cubicBezTo>
                    <a:pt x="257" y="0"/>
                    <a:pt x="313" y="26"/>
                    <a:pt x="346" y="67"/>
                  </a:cubicBezTo>
                  <a:lnTo>
                    <a:pt x="322"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noEditPoints="1"/>
            </p:cNvSpPr>
            <p:nvPr/>
          </p:nvSpPr>
          <p:spPr bwMode="auto">
            <a:xfrm>
              <a:off x="1416" y="456"/>
              <a:ext cx="895" cy="595"/>
            </a:xfrm>
            <a:custGeom>
              <a:avLst/>
              <a:gdLst>
                <a:gd name="T0" fmla="*/ 1437 w 1489"/>
                <a:gd name="T1" fmla="*/ 937 h 976"/>
                <a:gd name="T2" fmla="*/ 1446 w 1489"/>
                <a:gd name="T3" fmla="*/ 922 h 976"/>
                <a:gd name="T4" fmla="*/ 1444 w 1489"/>
                <a:gd name="T5" fmla="*/ 937 h 976"/>
                <a:gd name="T6" fmla="*/ 1437 w 1489"/>
                <a:gd name="T7" fmla="*/ 937 h 976"/>
                <a:gd name="T8" fmla="*/ 1432 w 1489"/>
                <a:gd name="T9" fmla="*/ 958 h 976"/>
                <a:gd name="T10" fmla="*/ 1437 w 1489"/>
                <a:gd name="T11" fmla="*/ 941 h 976"/>
                <a:gd name="T12" fmla="*/ 1455 w 1489"/>
                <a:gd name="T13" fmla="*/ 958 h 976"/>
                <a:gd name="T14" fmla="*/ 1449 w 1489"/>
                <a:gd name="T15" fmla="*/ 940 h 976"/>
                <a:gd name="T16" fmla="*/ 1446 w 1489"/>
                <a:gd name="T17" fmla="*/ 918 h 976"/>
                <a:gd name="T18" fmla="*/ 1432 w 1489"/>
                <a:gd name="T19" fmla="*/ 958 h 976"/>
                <a:gd name="T20" fmla="*/ 1414 w 1489"/>
                <a:gd name="T21" fmla="*/ 938 h 976"/>
                <a:gd name="T22" fmla="*/ 1445 w 1489"/>
                <a:gd name="T23" fmla="*/ 907 h 976"/>
                <a:gd name="T24" fmla="*/ 1445 w 1489"/>
                <a:gd name="T25" fmla="*/ 969 h 976"/>
                <a:gd name="T26" fmla="*/ 1414 w 1489"/>
                <a:gd name="T27" fmla="*/ 938 h 976"/>
                <a:gd name="T28" fmla="*/ 1410 w 1489"/>
                <a:gd name="T29" fmla="*/ 938 h 976"/>
                <a:gd name="T30" fmla="*/ 1480 w 1489"/>
                <a:gd name="T31" fmla="*/ 938 h 976"/>
                <a:gd name="T32" fmla="*/ 1410 w 1489"/>
                <a:gd name="T33" fmla="*/ 938 h 976"/>
                <a:gd name="T34" fmla="*/ 1203 w 1489"/>
                <a:gd name="T35" fmla="*/ 976 h 976"/>
                <a:gd name="T36" fmla="*/ 1188 w 1489"/>
                <a:gd name="T37" fmla="*/ 975 h 976"/>
                <a:gd name="T38" fmla="*/ 286 w 1489"/>
                <a:gd name="T39" fmla="*/ 976 h 976"/>
                <a:gd name="T40" fmla="*/ 239 w 1489"/>
                <a:gd name="T41" fmla="*/ 408 h 976"/>
                <a:gd name="T42" fmla="*/ 623 w 1489"/>
                <a:gd name="T43" fmla="*/ 0 h 976"/>
                <a:gd name="T44" fmla="*/ 901 w 1489"/>
                <a:gd name="T45" fmla="*/ 121 h 976"/>
                <a:gd name="T46" fmla="*/ 872 w 1489"/>
                <a:gd name="T47" fmla="*/ 182 h 976"/>
                <a:gd name="T48" fmla="*/ 840 w 1489"/>
                <a:gd name="T49" fmla="*/ 167 h 976"/>
                <a:gd name="T50" fmla="*/ 314 w 1489"/>
                <a:gd name="T51" fmla="*/ 384 h 976"/>
                <a:gd name="T52" fmla="*/ 326 w 1489"/>
                <a:gd name="T53" fmla="*/ 479 h 976"/>
                <a:gd name="T54" fmla="*/ 76 w 1489"/>
                <a:gd name="T55" fmla="*/ 690 h 976"/>
                <a:gd name="T56" fmla="*/ 297 w 1489"/>
                <a:gd name="T57" fmla="*/ 900 h 976"/>
                <a:gd name="T58" fmla="*/ 1191 w 1489"/>
                <a:gd name="T59" fmla="*/ 900 h 976"/>
                <a:gd name="T60" fmla="*/ 1413 w 1489"/>
                <a:gd name="T61" fmla="*/ 690 h 976"/>
                <a:gd name="T62" fmla="*/ 1186 w 1489"/>
                <a:gd name="T63" fmla="*/ 476 h 976"/>
                <a:gd name="T64" fmla="*/ 1199 w 1489"/>
                <a:gd name="T65" fmla="*/ 406 h 976"/>
                <a:gd name="T66" fmla="*/ 1159 w 1489"/>
                <a:gd name="T67" fmla="*/ 314 h 976"/>
                <a:gd name="T68" fmla="*/ 1071 w 1489"/>
                <a:gd name="T69" fmla="*/ 279 h 976"/>
                <a:gd name="T70" fmla="*/ 963 w 1489"/>
                <a:gd name="T71" fmla="*/ 336 h 976"/>
                <a:gd name="T72" fmla="*/ 766 w 1489"/>
                <a:gd name="T73" fmla="*/ 777 h 976"/>
                <a:gd name="T74" fmla="*/ 716 w 1489"/>
                <a:gd name="T75" fmla="*/ 796 h 976"/>
                <a:gd name="T76" fmla="*/ 535 w 1489"/>
                <a:gd name="T77" fmla="*/ 411 h 976"/>
                <a:gd name="T78" fmla="*/ 604 w 1489"/>
                <a:gd name="T79" fmla="*/ 381 h 976"/>
                <a:gd name="T80" fmla="*/ 883 w 1489"/>
                <a:gd name="T81" fmla="*/ 324 h 976"/>
                <a:gd name="T82" fmla="*/ 1046 w 1489"/>
                <a:gd name="T83" fmla="*/ 205 h 976"/>
                <a:gd name="T84" fmla="*/ 1080 w 1489"/>
                <a:gd name="T85" fmla="*/ 204 h 976"/>
                <a:gd name="T86" fmla="*/ 1205 w 1489"/>
                <a:gd name="T87" fmla="*/ 254 h 976"/>
                <a:gd name="T88" fmla="*/ 1216 w 1489"/>
                <a:gd name="T89" fmla="*/ 264 h 976"/>
                <a:gd name="T90" fmla="*/ 1249 w 1489"/>
                <a:gd name="T91" fmla="*/ 307 h 976"/>
                <a:gd name="T92" fmla="*/ 1275 w 1489"/>
                <a:gd name="T93" fmla="*/ 413 h 976"/>
                <a:gd name="T94" fmla="*/ 1203 w 1489"/>
                <a:gd name="T95" fmla="*/ 97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9" h="976">
                  <a:moveTo>
                    <a:pt x="1437" y="937"/>
                  </a:moveTo>
                  <a:lnTo>
                    <a:pt x="1437" y="937"/>
                  </a:lnTo>
                  <a:lnTo>
                    <a:pt x="1437" y="922"/>
                  </a:lnTo>
                  <a:lnTo>
                    <a:pt x="1446" y="922"/>
                  </a:lnTo>
                  <a:cubicBezTo>
                    <a:pt x="1450" y="922"/>
                    <a:pt x="1455" y="924"/>
                    <a:pt x="1455" y="929"/>
                  </a:cubicBezTo>
                  <a:cubicBezTo>
                    <a:pt x="1455" y="935"/>
                    <a:pt x="1450" y="937"/>
                    <a:pt x="1444" y="937"/>
                  </a:cubicBezTo>
                  <a:lnTo>
                    <a:pt x="1437" y="937"/>
                  </a:lnTo>
                  <a:lnTo>
                    <a:pt x="1437" y="937"/>
                  </a:lnTo>
                  <a:close/>
                  <a:moveTo>
                    <a:pt x="1432" y="958"/>
                  </a:moveTo>
                  <a:lnTo>
                    <a:pt x="1432" y="958"/>
                  </a:lnTo>
                  <a:lnTo>
                    <a:pt x="1437" y="958"/>
                  </a:lnTo>
                  <a:lnTo>
                    <a:pt x="1437" y="941"/>
                  </a:lnTo>
                  <a:lnTo>
                    <a:pt x="1444" y="941"/>
                  </a:lnTo>
                  <a:lnTo>
                    <a:pt x="1455" y="958"/>
                  </a:lnTo>
                  <a:lnTo>
                    <a:pt x="1461" y="958"/>
                  </a:lnTo>
                  <a:lnTo>
                    <a:pt x="1449" y="940"/>
                  </a:lnTo>
                  <a:cubicBezTo>
                    <a:pt x="1454" y="939"/>
                    <a:pt x="1459" y="936"/>
                    <a:pt x="1459" y="930"/>
                  </a:cubicBezTo>
                  <a:cubicBezTo>
                    <a:pt x="1459" y="922"/>
                    <a:pt x="1453" y="918"/>
                    <a:pt x="1446" y="918"/>
                  </a:cubicBezTo>
                  <a:lnTo>
                    <a:pt x="1432" y="918"/>
                  </a:lnTo>
                  <a:lnTo>
                    <a:pt x="1432" y="958"/>
                  </a:lnTo>
                  <a:lnTo>
                    <a:pt x="1432" y="958"/>
                  </a:lnTo>
                  <a:close/>
                  <a:moveTo>
                    <a:pt x="1414" y="938"/>
                  </a:moveTo>
                  <a:lnTo>
                    <a:pt x="1414" y="938"/>
                  </a:lnTo>
                  <a:cubicBezTo>
                    <a:pt x="1414" y="921"/>
                    <a:pt x="1428" y="907"/>
                    <a:pt x="1445" y="907"/>
                  </a:cubicBezTo>
                  <a:cubicBezTo>
                    <a:pt x="1462" y="907"/>
                    <a:pt x="1476" y="921"/>
                    <a:pt x="1476" y="938"/>
                  </a:cubicBezTo>
                  <a:cubicBezTo>
                    <a:pt x="1476" y="955"/>
                    <a:pt x="1462" y="969"/>
                    <a:pt x="1445" y="969"/>
                  </a:cubicBezTo>
                  <a:cubicBezTo>
                    <a:pt x="1428" y="969"/>
                    <a:pt x="1414" y="955"/>
                    <a:pt x="1414" y="938"/>
                  </a:cubicBezTo>
                  <a:lnTo>
                    <a:pt x="1414" y="938"/>
                  </a:lnTo>
                  <a:close/>
                  <a:moveTo>
                    <a:pt x="1410" y="938"/>
                  </a:moveTo>
                  <a:lnTo>
                    <a:pt x="1410" y="938"/>
                  </a:lnTo>
                  <a:cubicBezTo>
                    <a:pt x="1410" y="958"/>
                    <a:pt x="1425" y="973"/>
                    <a:pt x="1445" y="973"/>
                  </a:cubicBezTo>
                  <a:cubicBezTo>
                    <a:pt x="1464" y="973"/>
                    <a:pt x="1480" y="958"/>
                    <a:pt x="1480" y="938"/>
                  </a:cubicBezTo>
                  <a:cubicBezTo>
                    <a:pt x="1480" y="919"/>
                    <a:pt x="1464" y="903"/>
                    <a:pt x="1445" y="903"/>
                  </a:cubicBezTo>
                  <a:cubicBezTo>
                    <a:pt x="1425" y="903"/>
                    <a:pt x="1410" y="919"/>
                    <a:pt x="1410" y="938"/>
                  </a:cubicBezTo>
                  <a:lnTo>
                    <a:pt x="1410" y="938"/>
                  </a:lnTo>
                  <a:close/>
                  <a:moveTo>
                    <a:pt x="1203" y="976"/>
                  </a:moveTo>
                  <a:lnTo>
                    <a:pt x="1203" y="976"/>
                  </a:lnTo>
                  <a:cubicBezTo>
                    <a:pt x="1198" y="976"/>
                    <a:pt x="1193" y="976"/>
                    <a:pt x="1188" y="975"/>
                  </a:cubicBezTo>
                  <a:lnTo>
                    <a:pt x="300" y="975"/>
                  </a:lnTo>
                  <a:cubicBezTo>
                    <a:pt x="296" y="976"/>
                    <a:pt x="291" y="976"/>
                    <a:pt x="286" y="976"/>
                  </a:cubicBezTo>
                  <a:cubicBezTo>
                    <a:pt x="128" y="976"/>
                    <a:pt x="0" y="848"/>
                    <a:pt x="0" y="690"/>
                  </a:cubicBezTo>
                  <a:cubicBezTo>
                    <a:pt x="0" y="549"/>
                    <a:pt x="104" y="431"/>
                    <a:pt x="239" y="408"/>
                  </a:cubicBezTo>
                  <a:cubicBezTo>
                    <a:pt x="239" y="400"/>
                    <a:pt x="239" y="392"/>
                    <a:pt x="239" y="384"/>
                  </a:cubicBezTo>
                  <a:cubicBezTo>
                    <a:pt x="239" y="173"/>
                    <a:pt x="411" y="0"/>
                    <a:pt x="623" y="0"/>
                  </a:cubicBezTo>
                  <a:cubicBezTo>
                    <a:pt x="729" y="0"/>
                    <a:pt x="828" y="45"/>
                    <a:pt x="899" y="118"/>
                  </a:cubicBezTo>
                  <a:cubicBezTo>
                    <a:pt x="900" y="119"/>
                    <a:pt x="900" y="120"/>
                    <a:pt x="901" y="121"/>
                  </a:cubicBezTo>
                  <a:cubicBezTo>
                    <a:pt x="906" y="128"/>
                    <a:pt x="909" y="136"/>
                    <a:pt x="909" y="144"/>
                  </a:cubicBezTo>
                  <a:cubicBezTo>
                    <a:pt x="909" y="165"/>
                    <a:pt x="892" y="182"/>
                    <a:pt x="872" y="182"/>
                  </a:cubicBezTo>
                  <a:cubicBezTo>
                    <a:pt x="861" y="182"/>
                    <a:pt x="852" y="178"/>
                    <a:pt x="845" y="171"/>
                  </a:cubicBezTo>
                  <a:cubicBezTo>
                    <a:pt x="843" y="170"/>
                    <a:pt x="842" y="168"/>
                    <a:pt x="840" y="167"/>
                  </a:cubicBezTo>
                  <a:cubicBezTo>
                    <a:pt x="784" y="110"/>
                    <a:pt x="706" y="76"/>
                    <a:pt x="623" y="76"/>
                  </a:cubicBezTo>
                  <a:cubicBezTo>
                    <a:pt x="453" y="76"/>
                    <a:pt x="314" y="214"/>
                    <a:pt x="314" y="384"/>
                  </a:cubicBezTo>
                  <a:cubicBezTo>
                    <a:pt x="314" y="401"/>
                    <a:pt x="316" y="419"/>
                    <a:pt x="319" y="436"/>
                  </a:cubicBezTo>
                  <a:lnTo>
                    <a:pt x="326" y="479"/>
                  </a:lnTo>
                  <a:lnTo>
                    <a:pt x="282" y="480"/>
                  </a:lnTo>
                  <a:cubicBezTo>
                    <a:pt x="168" y="482"/>
                    <a:pt x="76" y="576"/>
                    <a:pt x="76" y="690"/>
                  </a:cubicBezTo>
                  <a:cubicBezTo>
                    <a:pt x="76" y="806"/>
                    <a:pt x="170" y="900"/>
                    <a:pt x="286" y="900"/>
                  </a:cubicBezTo>
                  <a:cubicBezTo>
                    <a:pt x="290" y="900"/>
                    <a:pt x="294" y="900"/>
                    <a:pt x="297" y="900"/>
                  </a:cubicBezTo>
                  <a:lnTo>
                    <a:pt x="298" y="900"/>
                  </a:lnTo>
                  <a:lnTo>
                    <a:pt x="1191" y="900"/>
                  </a:lnTo>
                  <a:cubicBezTo>
                    <a:pt x="1195" y="900"/>
                    <a:pt x="1199" y="900"/>
                    <a:pt x="1203" y="900"/>
                  </a:cubicBezTo>
                  <a:cubicBezTo>
                    <a:pt x="1319" y="900"/>
                    <a:pt x="1413" y="806"/>
                    <a:pt x="1413" y="690"/>
                  </a:cubicBezTo>
                  <a:cubicBezTo>
                    <a:pt x="1413" y="583"/>
                    <a:pt x="1333" y="494"/>
                    <a:pt x="1228" y="481"/>
                  </a:cubicBezTo>
                  <a:lnTo>
                    <a:pt x="1186" y="476"/>
                  </a:lnTo>
                  <a:lnTo>
                    <a:pt x="1196" y="435"/>
                  </a:lnTo>
                  <a:cubicBezTo>
                    <a:pt x="1198" y="425"/>
                    <a:pt x="1199" y="415"/>
                    <a:pt x="1199" y="406"/>
                  </a:cubicBezTo>
                  <a:cubicBezTo>
                    <a:pt x="1199" y="373"/>
                    <a:pt x="1186" y="343"/>
                    <a:pt x="1166" y="320"/>
                  </a:cubicBezTo>
                  <a:cubicBezTo>
                    <a:pt x="1163" y="318"/>
                    <a:pt x="1161" y="316"/>
                    <a:pt x="1159" y="314"/>
                  </a:cubicBezTo>
                  <a:cubicBezTo>
                    <a:pt x="1159" y="313"/>
                    <a:pt x="1158" y="313"/>
                    <a:pt x="1158" y="312"/>
                  </a:cubicBezTo>
                  <a:cubicBezTo>
                    <a:pt x="1134" y="292"/>
                    <a:pt x="1104" y="279"/>
                    <a:pt x="1071" y="279"/>
                  </a:cubicBezTo>
                  <a:cubicBezTo>
                    <a:pt x="1071" y="279"/>
                    <a:pt x="1070" y="279"/>
                    <a:pt x="1070" y="279"/>
                  </a:cubicBezTo>
                  <a:cubicBezTo>
                    <a:pt x="1000" y="275"/>
                    <a:pt x="968" y="329"/>
                    <a:pt x="963" y="336"/>
                  </a:cubicBezTo>
                  <a:cubicBezTo>
                    <a:pt x="959" y="343"/>
                    <a:pt x="958" y="343"/>
                    <a:pt x="951" y="358"/>
                  </a:cubicBezTo>
                  <a:lnTo>
                    <a:pt x="766" y="777"/>
                  </a:lnTo>
                  <a:cubicBezTo>
                    <a:pt x="760" y="791"/>
                    <a:pt x="746" y="800"/>
                    <a:pt x="731" y="800"/>
                  </a:cubicBezTo>
                  <a:cubicBezTo>
                    <a:pt x="726" y="800"/>
                    <a:pt x="721" y="798"/>
                    <a:pt x="716" y="796"/>
                  </a:cubicBezTo>
                  <a:cubicBezTo>
                    <a:pt x="705" y="792"/>
                    <a:pt x="698" y="783"/>
                    <a:pt x="695" y="772"/>
                  </a:cubicBezTo>
                  <a:lnTo>
                    <a:pt x="535" y="411"/>
                  </a:lnTo>
                  <a:cubicBezTo>
                    <a:pt x="527" y="392"/>
                    <a:pt x="535" y="370"/>
                    <a:pt x="554" y="361"/>
                  </a:cubicBezTo>
                  <a:cubicBezTo>
                    <a:pt x="574" y="353"/>
                    <a:pt x="596" y="362"/>
                    <a:pt x="604" y="381"/>
                  </a:cubicBezTo>
                  <a:lnTo>
                    <a:pt x="732" y="667"/>
                  </a:lnTo>
                  <a:lnTo>
                    <a:pt x="883" y="324"/>
                  </a:lnTo>
                  <a:cubicBezTo>
                    <a:pt x="883" y="324"/>
                    <a:pt x="883" y="324"/>
                    <a:pt x="883" y="324"/>
                  </a:cubicBezTo>
                  <a:cubicBezTo>
                    <a:pt x="912" y="260"/>
                    <a:pt x="973" y="214"/>
                    <a:pt x="1046" y="205"/>
                  </a:cubicBezTo>
                  <a:cubicBezTo>
                    <a:pt x="1046" y="205"/>
                    <a:pt x="1054" y="204"/>
                    <a:pt x="1058" y="204"/>
                  </a:cubicBezTo>
                  <a:cubicBezTo>
                    <a:pt x="1062" y="204"/>
                    <a:pt x="1078" y="204"/>
                    <a:pt x="1080" y="204"/>
                  </a:cubicBezTo>
                  <a:cubicBezTo>
                    <a:pt x="1082" y="204"/>
                    <a:pt x="1084" y="204"/>
                    <a:pt x="1086" y="204"/>
                  </a:cubicBezTo>
                  <a:cubicBezTo>
                    <a:pt x="1132" y="207"/>
                    <a:pt x="1173" y="226"/>
                    <a:pt x="1205" y="254"/>
                  </a:cubicBezTo>
                  <a:cubicBezTo>
                    <a:pt x="1208" y="256"/>
                    <a:pt x="1210" y="258"/>
                    <a:pt x="1211" y="259"/>
                  </a:cubicBezTo>
                  <a:cubicBezTo>
                    <a:pt x="1213" y="261"/>
                    <a:pt x="1215" y="262"/>
                    <a:pt x="1216" y="264"/>
                  </a:cubicBezTo>
                  <a:cubicBezTo>
                    <a:pt x="1229" y="277"/>
                    <a:pt x="1240" y="291"/>
                    <a:pt x="1249" y="307"/>
                  </a:cubicBezTo>
                  <a:lnTo>
                    <a:pt x="1249" y="307"/>
                  </a:lnTo>
                  <a:cubicBezTo>
                    <a:pt x="1265" y="336"/>
                    <a:pt x="1275" y="370"/>
                    <a:pt x="1275" y="406"/>
                  </a:cubicBezTo>
                  <a:cubicBezTo>
                    <a:pt x="1275" y="408"/>
                    <a:pt x="1275" y="411"/>
                    <a:pt x="1275" y="413"/>
                  </a:cubicBezTo>
                  <a:cubicBezTo>
                    <a:pt x="1399" y="445"/>
                    <a:pt x="1489" y="558"/>
                    <a:pt x="1489" y="690"/>
                  </a:cubicBezTo>
                  <a:cubicBezTo>
                    <a:pt x="1489" y="848"/>
                    <a:pt x="1361" y="976"/>
                    <a:pt x="1203" y="9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ya - Blank - Blue">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4976208B-6111-490B-8CEC-FFB249DB2100}" type="slidenum">
              <a:rPr lang="en-US" smtClean="0"/>
              <a:pPr/>
              <a:t>‹#›</a:t>
            </a:fld>
            <a:endParaRPr lang="en-US" dirty="0"/>
          </a:p>
        </p:txBody>
      </p:sp>
    </p:spTree>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AS - Comparison - Whit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3" hasCustomPrompt="1"/>
          </p:nvPr>
        </p:nvSpPr>
        <p:spPr>
          <a:xfrm>
            <a:off x="627641"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defRPr sz="2000" baseline="0">
                <a:solidFill>
                  <a:schemeClr val="tx2"/>
                </a:solidFill>
                <a:latin typeface="+mn-lt"/>
              </a:defRPr>
            </a:lvl1pPr>
            <a:lvl2pPr>
              <a:defRPr sz="1800" baseline="0">
                <a:latin typeface="+mn-lt"/>
              </a:defRPr>
            </a:lvl2pPr>
            <a:lvl3pPr>
              <a:defRPr sz="1400" baseline="0">
                <a:latin typeface="+mn-lt"/>
              </a:defRPr>
            </a:lvl3pPr>
            <a:lvl4pPr>
              <a:defRPr sz="1200" baseline="0">
                <a:latin typeface="+mj-lt"/>
              </a:defRPr>
            </a:lvl4pPr>
            <a:lvl5pP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wrap="square">
            <a:normAutofit/>
          </a:bodyPr>
          <a:lstStyle>
            <a:lvl1pPr>
              <a:defRPr sz="2000" baseline="0">
                <a:solidFill>
                  <a:schemeClr val="tx2"/>
                </a:solidFill>
                <a:latin typeface="+mn-lt"/>
              </a:defRPr>
            </a:lvl1pPr>
            <a:lvl2pPr>
              <a:defRPr baseline="0">
                <a:latin typeface="+mn-lt"/>
              </a:defRPr>
            </a:lvl2pPr>
            <a:lvl3pPr>
              <a:defRPr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5941315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fidential -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i="0" cap="none" baseline="0">
                <a:solidFill>
                  <a:schemeClr val="accent1"/>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ormAutofit/>
          </a:bodyPr>
          <a:lstStyle>
            <a:lvl1pPr>
              <a:defRPr baseline="0">
                <a:solidFill>
                  <a:schemeClr val="tx2"/>
                </a:solidFill>
              </a:defRPr>
            </a:lvl1pPr>
            <a:lvl2pPr>
              <a:defRPr b="0"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3082612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 - Title &amp; Subtitle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9183242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fidential - Title Only - 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lgn="ctr">
              <a:defRPr sz="2800" baseline="0"/>
            </a:lvl1pPr>
          </a:lstStyle>
          <a:p>
            <a:r>
              <a:rPr lang="en-US" dirty="0"/>
              <a:t>Click to Edit Title</a:t>
            </a:r>
          </a:p>
        </p:txBody>
      </p:sp>
      <p:sp>
        <p:nvSpPr>
          <p:cNvPr id="4" name="Slide Number Placeholder 2"/>
          <p:cNvSpPr>
            <a:spLocks noGrp="1"/>
          </p:cNvSpPr>
          <p:nvPr>
            <p:ph type="sldNum" sz="quarter" idx="11"/>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5873150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fidential - Title &amp;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buClr>
                <a:srgbClr val="6BBAB6"/>
              </a:buClr>
              <a:defRPr baseline="0">
                <a:solidFill>
                  <a:schemeClr val="tx2"/>
                </a:solidFill>
              </a:defRPr>
            </a:lvl1pPr>
            <a:lvl2pPr>
              <a:buClr>
                <a:srgbClr val="6BBAB6"/>
              </a:buClr>
              <a:defRPr baseline="0"/>
            </a:lvl2pPr>
            <a:lvl3pPr>
              <a:buClr>
                <a:srgbClr val="6BBAB6"/>
              </a:buClr>
              <a:defRPr baseline="0"/>
            </a:lvl3pPr>
            <a:lvl4pPr>
              <a:buClr>
                <a:srgbClr val="6BBAB6"/>
              </a:buClr>
              <a:defRPr baseline="0"/>
            </a:lvl4pPr>
            <a:lvl5pPr>
              <a:buClr>
                <a:srgbClr val="6BBAB6"/>
              </a:buCl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02491434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fidential - Comparison - Whit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4721" y="1014984"/>
            <a:ext cx="3883025" cy="3639312"/>
          </a:xfrm>
        </p:spPr>
        <p:txBody>
          <a:bodyPr wrap="square" anchor="t">
            <a:normAutofit/>
          </a:bodyPr>
          <a:lstStyle>
            <a:lvl1pPr>
              <a:defRPr sz="2000" baseline="0">
                <a:solidFill>
                  <a:schemeClr val="tx2"/>
                </a:solidFill>
              </a:defRPr>
            </a:lvl1pPr>
            <a:lvl2pPr>
              <a:defRPr sz="1800" baseline="0"/>
            </a:lvl2pPr>
            <a:lvl3pPr>
              <a:defRPr sz="1400"/>
            </a:lvl3pPr>
            <a:lvl4pPr>
              <a:defRPr sz="1200"/>
            </a:lvl4pPr>
            <a:lvl5pPr>
              <a:defRPr sz="1000" baseline="0"/>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defRPr baseline="0"/>
            </a:lvl1pPr>
            <a:lvl2pPr>
              <a:defRPr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5941315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fidential - Two Content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6364" y="1014984"/>
            <a:ext cx="3883025" cy="3639312"/>
          </a:xfrm>
        </p:spPr>
        <p:txBody>
          <a:bodyPr wrap="square" anchor="t">
            <a:normAutofit/>
          </a:bodyPr>
          <a:lstStyle>
            <a:lvl1pPr>
              <a:buClr>
                <a:schemeClr val="bg1"/>
              </a:buClr>
              <a:defRPr sz="2000" baseline="0">
                <a:solidFill>
                  <a:schemeClr val="bg1"/>
                </a:solidFill>
              </a:defRPr>
            </a:lvl1pPr>
            <a:lvl2pPr>
              <a:buClr>
                <a:schemeClr val="bg1"/>
              </a:buClr>
              <a:defRPr sz="1800" baseline="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000" baseline="0">
                <a:solidFill>
                  <a:schemeClr val="bg1"/>
                </a:solidFill>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307886724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fidential - Content &amp; Caption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8600"/>
            <a:ext cx="3127248" cy="369332"/>
          </a:xfrm>
        </p:spPr>
        <p:txBody>
          <a:bodyPr anchor="t" anchorCtr="0">
            <a:spAutoFit/>
          </a:bodyPr>
          <a:lstStyle>
            <a:lvl1pP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59"/>
            <a:ext cx="6016752" cy="4014216"/>
          </a:xfrm>
        </p:spPr>
        <p:txBody>
          <a:bodyPr lIns="274320" tIns="45720" rIns="457200" bIns="45720" anchor="t" anchorCtr="0">
            <a:normAutofit/>
          </a:bodyPr>
          <a:lstStyle>
            <a:lvl1pPr>
              <a:defRPr sz="2000" baseline="0">
                <a:solidFill>
                  <a:schemeClr val="tx2"/>
                </a:solidFill>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994407"/>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391435626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fidential - Case Study Only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016752" cy="430887"/>
          </a:xfrm>
        </p:spPr>
        <p:txBody>
          <a:bodyPr lIns="182880" rIns="182880" anchor="b" anchorCtr="0">
            <a:noAutofit/>
          </a:bodyPr>
          <a:lstStyle>
            <a:lvl1pPr>
              <a:defRPr sz="2200" baseline="0"/>
            </a:lvl1pPr>
          </a:lstStyle>
          <a:p>
            <a:r>
              <a:rPr lang="en-US" dirty="0"/>
              <a:t>Click to Edit Title</a:t>
            </a:r>
          </a:p>
        </p:txBody>
      </p:sp>
      <p:sp>
        <p:nvSpPr>
          <p:cNvPr id="21" name="Text Placeholder 2"/>
          <p:cNvSpPr>
            <a:spLocks noGrp="1"/>
          </p:cNvSpPr>
          <p:nvPr>
            <p:ph type="body" sz="quarter" idx="11" hasCustomPrompt="1"/>
          </p:nvPr>
        </p:nvSpPr>
        <p:spPr>
          <a:xfrm>
            <a:off x="0" y="634142"/>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0338"/>
            <a:ext cx="6016752" cy="3730752"/>
          </a:xfrm>
        </p:spPr>
        <p:txBody>
          <a:bodyPr lIns="365760" rIns="274320" bIns="45720" anchor="t" anchorCtr="0">
            <a:normAutofit/>
          </a:bodyPr>
          <a:lstStyle>
            <a:lvl1pPr>
              <a:defRPr sz="2000" baseline="0">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5" name="Text Placeholder 4"/>
          <p:cNvSpPr>
            <a:spLocks noGrp="1"/>
          </p:cNvSpPr>
          <p:nvPr>
            <p:ph type="body" sz="half" idx="13" hasCustomPrompt="1"/>
          </p:nvPr>
        </p:nvSpPr>
        <p:spPr>
          <a:xfrm flipH="1">
            <a:off x="6016752" y="228600"/>
            <a:ext cx="3127248" cy="369332"/>
          </a:xfrm>
        </p:spPr>
        <p:txBody>
          <a:bodyPr lIns="91440" anchor="t" anchorCtr="0">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Heading</a:t>
            </a:r>
          </a:p>
        </p:txBody>
      </p:sp>
      <p:sp>
        <p:nvSpPr>
          <p:cNvPr id="18" name="Text Placeholder 5"/>
          <p:cNvSpPr>
            <a:spLocks noGrp="1"/>
          </p:cNvSpPr>
          <p:nvPr>
            <p:ph type="body" sz="quarter" idx="14" hasCustomPrompt="1"/>
          </p:nvPr>
        </p:nvSpPr>
        <p:spPr>
          <a:xfrm>
            <a:off x="6428232" y="994407"/>
            <a:ext cx="2286000" cy="615553"/>
          </a:xfrm>
        </p:spPr>
        <p:txBody>
          <a:bodyPr wrap="square" anchor="t" anchorCtr="0">
            <a:spAutoFit/>
          </a:bodyPr>
          <a:lstStyle>
            <a:lvl1pPr marL="0" indent="-182880" algn="l">
              <a:buFont typeface="Arial" pitchFamily="34" charset="0"/>
              <a:buNone/>
              <a:defRPr sz="2000" b="0" cap="none" baseline="0">
                <a:solidFill>
                  <a:schemeClr val="bg1"/>
                </a:solidFill>
                <a:latin typeface="+mn-lt"/>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Click to edit caption text</a:t>
            </a:r>
          </a:p>
        </p:txBody>
      </p:sp>
      <p:sp>
        <p:nvSpPr>
          <p:cNvPr id="4" name="Slide Number Placeholder 6"/>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10105904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fidential - Blank - White">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6667272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fidential - Content -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solidFill>
                  <a:schemeClr val="bg1"/>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i="0" cap="none" baseline="0">
                <a:solidFill>
                  <a:schemeClr val="accent1">
                    <a:lumMod val="40000"/>
                    <a:lumOff val="60000"/>
                  </a:schemeClr>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ormAutofit/>
          </a:bodyPr>
          <a:lstStyle>
            <a:lvl1pPr>
              <a:defRPr baseline="0">
                <a:solidFill>
                  <a:schemeClr val="bg1"/>
                </a:solidFill>
              </a:defRPr>
            </a:lvl1pPr>
            <a:lvl2pPr>
              <a:defRPr b="0"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AS - Two Content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buClr>
                <a:schemeClr val="bg1"/>
              </a:buClr>
              <a:buSzPct val="80000"/>
              <a:defRPr sz="2000" baseline="0">
                <a:solidFill>
                  <a:schemeClr val="bg1"/>
                </a:solidFill>
                <a:latin typeface="+mn-lt"/>
              </a:defRPr>
            </a:lvl1pPr>
            <a:lvl2pPr>
              <a:buClr>
                <a:schemeClr val="bg1"/>
              </a:buClr>
              <a:buSzPct val="80000"/>
              <a:defRPr sz="1800" baseline="0">
                <a:solidFill>
                  <a:schemeClr val="bg1"/>
                </a:solidFill>
                <a:latin typeface="+mn-lt"/>
              </a:defRPr>
            </a:lvl2pPr>
            <a:lvl3pPr>
              <a:buClr>
                <a:schemeClr val="bg1"/>
              </a:buClr>
              <a:buSzPct val="100000"/>
              <a:defRPr sz="1400" baseline="0">
                <a:solidFill>
                  <a:schemeClr val="bg1"/>
                </a:solidFill>
                <a:latin typeface="+mn-lt"/>
              </a:defRPr>
            </a:lvl3pPr>
            <a:lvl4pPr>
              <a:buClr>
                <a:schemeClr val="bg1"/>
              </a:buClr>
              <a:buSzPct val="100000"/>
              <a:defRPr sz="1200" baseline="0">
                <a:solidFill>
                  <a:schemeClr val="bg1"/>
                </a:solidFill>
                <a:latin typeface="+mj-lt"/>
              </a:defRPr>
            </a:lvl4pPr>
            <a:lvl5pPr marL="914400" indent="-182880">
              <a:buClr>
                <a:schemeClr val="bg1"/>
              </a:buClr>
              <a:buSzPct val="100000"/>
              <a:defRPr sz="1000" baseline="0">
                <a:solidFill>
                  <a:schemeClr val="bg1"/>
                </a:solidFill>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vert="horz" wrap="square" lIns="91440" tIns="45720" rIns="91440" bIns="45720" rtlCol="0" anchor="t" anchorCtr="0">
            <a:normAutofit/>
          </a:bodyPr>
          <a:lstStyle>
            <a:lvl1pPr>
              <a:buClr>
                <a:schemeClr val="bg1"/>
              </a:buClr>
              <a:defRPr lang="en-US" dirty="0" smtClean="0">
                <a:solidFill>
                  <a:schemeClr val="bg1"/>
                </a:solidFill>
              </a:defRPr>
            </a:lvl1pPr>
            <a:lvl2pPr marL="182880" indent="-182880" defTabSz="365760">
              <a:lnSpc>
                <a:spcPct val="85000"/>
              </a:lnSpc>
              <a:spcBef>
                <a:spcPts val="800"/>
              </a:spcBef>
              <a:buClr>
                <a:schemeClr val="bg1"/>
              </a:buClr>
              <a:buFont typeface="Arial" panose="020B0604020202020204" pitchFamily="34" charset="0"/>
              <a:buChar char="•"/>
              <a:defRPr lang="en-US" sz="2000" dirty="0" smtClean="0">
                <a:solidFill>
                  <a:schemeClr val="bg1"/>
                </a:solidFill>
                <a:latin typeface="+mn-lt"/>
              </a:defRPr>
            </a:lvl2pPr>
            <a:lvl3pPr marL="365760" indent="-182880" defTabSz="365760">
              <a:lnSpc>
                <a:spcPct val="85000"/>
              </a:lnSpc>
              <a:spcBef>
                <a:spcPts val="800"/>
              </a:spcBef>
              <a:buClr>
                <a:schemeClr val="bg1"/>
              </a:buClr>
              <a:buSzPct val="80000"/>
              <a:buFont typeface="Arial" panose="020B0604020202020204" pitchFamily="34" charset="0"/>
              <a:buChar char="•"/>
              <a:defRPr lang="en-US" sz="1800" dirty="0" smtClean="0">
                <a:solidFill>
                  <a:schemeClr val="bg1"/>
                </a:solidFill>
                <a:latin typeface="+mn-lt"/>
              </a:defRPr>
            </a:lvl3pPr>
            <a:lvl4pPr marL="548640" defTabSz="365760">
              <a:lnSpc>
                <a:spcPct val="85000"/>
              </a:lnSpc>
              <a:spcBef>
                <a:spcPts val="800"/>
              </a:spcBef>
              <a:buClr>
                <a:schemeClr val="bg1"/>
              </a:buClr>
              <a:defRPr lang="en-US" sz="1400" dirty="0" smtClean="0">
                <a:solidFill>
                  <a:schemeClr val="bg1"/>
                </a:solidFill>
                <a:latin typeface="+mn-lt"/>
              </a:defRPr>
            </a:lvl4pPr>
            <a:lvl5pPr marL="731520" indent="-182880" defTabSz="365760">
              <a:buClr>
                <a:schemeClr val="bg1"/>
              </a:buClr>
              <a:defRPr lang="en-US" sz="1200" dirty="0">
                <a:solidFill>
                  <a:schemeClr val="bg1"/>
                </a:solidFill>
                <a:latin typeface="+mj-lt"/>
              </a:defRPr>
            </a:lvl5pPr>
            <a:lvl6pPr marL="914400" indent="-182880" defTabSz="365760">
              <a:buClr>
                <a:schemeClr val="bg1"/>
              </a:buClr>
              <a:buSzPct val="100000"/>
              <a:buFont typeface="Calibri" panose="020F0502020204030204" pitchFamily="34" charset="0"/>
              <a:buChar char="-"/>
              <a:defRPr>
                <a:solidFill>
                  <a:schemeClr val="bg1"/>
                </a:solidFill>
                <a:latin typeface="+mj-lt"/>
              </a:defRPr>
            </a:lvl6pPr>
          </a:lstStyle>
          <a:p>
            <a:pPr lvl="1"/>
            <a:r>
              <a:rPr lang="en-US" dirty="0"/>
              <a:t>Click to add text or click an icon to add other content types.</a:t>
            </a:r>
          </a:p>
          <a:p>
            <a:pPr lvl="2"/>
            <a:r>
              <a:rPr lang="en-US" dirty="0"/>
              <a:t>Second level</a:t>
            </a:r>
          </a:p>
          <a:p>
            <a:pPr lvl="3"/>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08475987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fidential - Title &amp; Subtitle -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j-lt"/>
              </a:defRPr>
            </a:lvl1pPr>
          </a:lstStyle>
          <a:p>
            <a:pPr lvl="0"/>
            <a:r>
              <a:rPr lang="en-US" dirty="0"/>
              <a:t>Click to edit subtitle</a:t>
            </a:r>
          </a:p>
        </p:txBody>
      </p:sp>
      <p:sp>
        <p:nvSpPr>
          <p:cNvPr id="4"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fidential - Title Only - Blu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lgn="ctr">
              <a:defRPr sz="2800" baseline="0"/>
            </a:lvl1pPr>
          </a:lstStyle>
          <a:p>
            <a:r>
              <a:rPr lang="en-US" dirty="0"/>
              <a:t>Click to Edit Title</a:t>
            </a:r>
          </a:p>
        </p:txBody>
      </p:sp>
      <p:sp>
        <p:nvSpPr>
          <p:cNvPr id="4" name="Slide Number Placeholder 2"/>
          <p:cNvSpPr>
            <a:spLocks noGrp="1"/>
          </p:cNvSpPr>
          <p:nvPr>
            <p:ph type="sldNum" sz="quarter" idx="11"/>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ya Confidential - Title &amp; Content -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bg1"/>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buClr>
                <a:srgbClr val="6BBAB6"/>
              </a:buClr>
              <a:defRPr baseline="0">
                <a:solidFill>
                  <a:schemeClr val="bg1"/>
                </a:solidFill>
              </a:defRPr>
            </a:lvl1pPr>
            <a:lvl2pPr>
              <a:buClr>
                <a:srgbClr val="6BBAB6"/>
              </a:buClr>
              <a:defRPr baseline="0">
                <a:solidFill>
                  <a:schemeClr val="bg1"/>
                </a:solidFill>
              </a:defRPr>
            </a:lvl2pPr>
            <a:lvl3pPr>
              <a:buClr>
                <a:srgbClr val="6BBAB6"/>
              </a:buClr>
              <a:defRPr baseline="0">
                <a:solidFill>
                  <a:schemeClr val="bg1"/>
                </a:solidFill>
              </a:defRPr>
            </a:lvl3pPr>
            <a:lvl4pPr>
              <a:buClr>
                <a:srgbClr val="6BBAB6"/>
              </a:buClr>
              <a:defRPr baseline="0"/>
            </a:lvl4pPr>
            <a:lvl5pPr>
              <a:buClr>
                <a:srgbClr val="6BBAB6"/>
              </a:buCl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grpSp>
        <p:nvGrpSpPr>
          <p:cNvPr id="3" name="Group 2"/>
          <p:cNvGrpSpPr/>
          <p:nvPr userDrawn="1"/>
        </p:nvGrpSpPr>
        <p:grpSpPr>
          <a:xfrm>
            <a:off x="278497" y="137381"/>
            <a:ext cx="914400" cy="636169"/>
            <a:chOff x="278497" y="137381"/>
            <a:chExt cx="914400" cy="636169"/>
          </a:xfrm>
        </p:grpSpPr>
        <p:grpSp>
          <p:nvGrpSpPr>
            <p:cNvPr id="7" name="Group 6"/>
            <p:cNvGrpSpPr/>
            <p:nvPr userDrawn="1"/>
          </p:nvGrpSpPr>
          <p:grpSpPr>
            <a:xfrm>
              <a:off x="278497" y="535420"/>
              <a:ext cx="914400" cy="238130"/>
              <a:chOff x="278497" y="535420"/>
              <a:chExt cx="914400" cy="238130"/>
            </a:xfrm>
          </p:grpSpPr>
          <p:sp>
            <p:nvSpPr>
              <p:cNvPr id="8" name="Freeform 19"/>
              <p:cNvSpPr>
                <a:spLocks/>
              </p:cNvSpPr>
              <p:nvPr userDrawn="1"/>
            </p:nvSpPr>
            <p:spPr bwMode="auto">
              <a:xfrm>
                <a:off x="278497" y="535420"/>
                <a:ext cx="105946" cy="183672"/>
              </a:xfrm>
              <a:custGeom>
                <a:avLst/>
                <a:gdLst>
                  <a:gd name="T0" fmla="*/ 269 w 428"/>
                  <a:gd name="T1" fmla="*/ 2 h 741"/>
                  <a:gd name="T2" fmla="*/ 337 w 428"/>
                  <a:gd name="T3" fmla="*/ 21 h 741"/>
                  <a:gd name="T4" fmla="*/ 393 w 428"/>
                  <a:gd name="T5" fmla="*/ 57 h 741"/>
                  <a:gd name="T6" fmla="*/ 387 w 428"/>
                  <a:gd name="T7" fmla="*/ 105 h 741"/>
                  <a:gd name="T8" fmla="*/ 346 w 428"/>
                  <a:gd name="T9" fmla="*/ 66 h 741"/>
                  <a:gd name="T10" fmla="*/ 292 w 428"/>
                  <a:gd name="T11" fmla="*/ 42 h 741"/>
                  <a:gd name="T12" fmla="*/ 229 w 428"/>
                  <a:gd name="T13" fmla="*/ 33 h 741"/>
                  <a:gd name="T14" fmla="*/ 176 w 428"/>
                  <a:gd name="T15" fmla="*/ 38 h 741"/>
                  <a:gd name="T16" fmla="*/ 128 w 428"/>
                  <a:gd name="T17" fmla="*/ 57 h 741"/>
                  <a:gd name="T18" fmla="*/ 87 w 428"/>
                  <a:gd name="T19" fmla="*/ 88 h 741"/>
                  <a:gd name="T20" fmla="*/ 58 w 428"/>
                  <a:gd name="T21" fmla="*/ 131 h 741"/>
                  <a:gd name="T22" fmla="*/ 48 w 428"/>
                  <a:gd name="T23" fmla="*/ 186 h 741"/>
                  <a:gd name="T24" fmla="*/ 57 w 428"/>
                  <a:gd name="T25" fmla="*/ 238 h 741"/>
                  <a:gd name="T26" fmla="*/ 82 w 428"/>
                  <a:gd name="T27" fmla="*/ 278 h 741"/>
                  <a:gd name="T28" fmla="*/ 118 w 428"/>
                  <a:gd name="T29" fmla="*/ 307 h 741"/>
                  <a:gd name="T30" fmla="*/ 163 w 428"/>
                  <a:gd name="T31" fmla="*/ 330 h 741"/>
                  <a:gd name="T32" fmla="*/ 212 w 428"/>
                  <a:gd name="T33" fmla="*/ 349 h 741"/>
                  <a:gd name="T34" fmla="*/ 264 w 428"/>
                  <a:gd name="T35" fmla="*/ 368 h 741"/>
                  <a:gd name="T36" fmla="*/ 315 w 428"/>
                  <a:gd name="T37" fmla="*/ 389 h 741"/>
                  <a:gd name="T38" fmla="*/ 358 w 428"/>
                  <a:gd name="T39" fmla="*/ 413 h 741"/>
                  <a:gd name="T40" fmla="*/ 396 w 428"/>
                  <a:gd name="T41" fmla="*/ 446 h 741"/>
                  <a:gd name="T42" fmla="*/ 419 w 428"/>
                  <a:gd name="T43" fmla="*/ 491 h 741"/>
                  <a:gd name="T44" fmla="*/ 428 w 428"/>
                  <a:gd name="T45" fmla="*/ 549 h 741"/>
                  <a:gd name="T46" fmla="*/ 418 w 428"/>
                  <a:gd name="T47" fmla="*/ 612 h 741"/>
                  <a:gd name="T48" fmla="*/ 391 w 428"/>
                  <a:gd name="T49" fmla="*/ 662 h 741"/>
                  <a:gd name="T50" fmla="*/ 351 w 428"/>
                  <a:gd name="T51" fmla="*/ 701 h 741"/>
                  <a:gd name="T52" fmla="*/ 299 w 428"/>
                  <a:gd name="T53" fmla="*/ 727 h 741"/>
                  <a:gd name="T54" fmla="*/ 240 w 428"/>
                  <a:gd name="T55" fmla="*/ 740 h 741"/>
                  <a:gd name="T56" fmla="*/ 169 w 428"/>
                  <a:gd name="T57" fmla="*/ 739 h 741"/>
                  <a:gd name="T58" fmla="*/ 91 w 428"/>
                  <a:gd name="T59" fmla="*/ 719 h 741"/>
                  <a:gd name="T60" fmla="*/ 27 w 428"/>
                  <a:gd name="T61" fmla="*/ 678 h 741"/>
                  <a:gd name="T62" fmla="*/ 25 w 428"/>
                  <a:gd name="T63" fmla="*/ 626 h 741"/>
                  <a:gd name="T64" fmla="*/ 80 w 428"/>
                  <a:gd name="T65" fmla="*/ 670 h 741"/>
                  <a:gd name="T66" fmla="*/ 142 w 428"/>
                  <a:gd name="T67" fmla="*/ 698 h 741"/>
                  <a:gd name="T68" fmla="*/ 210 w 428"/>
                  <a:gd name="T69" fmla="*/ 707 h 741"/>
                  <a:gd name="T70" fmla="*/ 265 w 428"/>
                  <a:gd name="T71" fmla="*/ 701 h 741"/>
                  <a:gd name="T72" fmla="*/ 313 w 428"/>
                  <a:gd name="T73" fmla="*/ 681 h 741"/>
                  <a:gd name="T74" fmla="*/ 354 w 428"/>
                  <a:gd name="T75" fmla="*/ 650 h 741"/>
                  <a:gd name="T76" fmla="*/ 381 w 428"/>
                  <a:gd name="T77" fmla="*/ 606 h 741"/>
                  <a:gd name="T78" fmla="*/ 391 w 428"/>
                  <a:gd name="T79" fmla="*/ 551 h 741"/>
                  <a:gd name="T80" fmla="*/ 382 w 428"/>
                  <a:gd name="T81" fmla="*/ 499 h 741"/>
                  <a:gd name="T82" fmla="*/ 357 w 428"/>
                  <a:gd name="T83" fmla="*/ 460 h 741"/>
                  <a:gd name="T84" fmla="*/ 321 w 428"/>
                  <a:gd name="T85" fmla="*/ 430 h 741"/>
                  <a:gd name="T86" fmla="*/ 276 w 428"/>
                  <a:gd name="T87" fmla="*/ 408 h 741"/>
                  <a:gd name="T88" fmla="*/ 227 w 428"/>
                  <a:gd name="T89" fmla="*/ 389 h 741"/>
                  <a:gd name="T90" fmla="*/ 175 w 428"/>
                  <a:gd name="T91" fmla="*/ 371 h 741"/>
                  <a:gd name="T92" fmla="*/ 126 w 428"/>
                  <a:gd name="T93" fmla="*/ 349 h 741"/>
                  <a:gd name="T94" fmla="*/ 81 w 428"/>
                  <a:gd name="T95" fmla="*/ 324 h 741"/>
                  <a:gd name="T96" fmla="*/ 45 w 428"/>
                  <a:gd name="T97" fmla="*/ 291 h 741"/>
                  <a:gd name="T98" fmla="*/ 20 w 428"/>
                  <a:gd name="T99" fmla="*/ 245 h 741"/>
                  <a:gd name="T100" fmla="*/ 12 w 428"/>
                  <a:gd name="T101" fmla="*/ 187 h 741"/>
                  <a:gd name="T102" fmla="*/ 21 w 428"/>
                  <a:gd name="T103" fmla="*/ 125 h 741"/>
                  <a:gd name="T104" fmla="*/ 49 w 428"/>
                  <a:gd name="T105" fmla="*/ 76 h 741"/>
                  <a:gd name="T106" fmla="*/ 90 w 428"/>
                  <a:gd name="T107" fmla="*/ 39 h 741"/>
                  <a:gd name="T108" fmla="*/ 142 w 428"/>
                  <a:gd name="T109" fmla="*/ 14 h 741"/>
                  <a:gd name="T110" fmla="*/ 200 w 428"/>
                  <a:gd name="T111" fmla="*/ 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8" h="741">
                    <a:moveTo>
                      <a:pt x="230" y="0"/>
                    </a:moveTo>
                    <a:lnTo>
                      <a:pt x="269" y="2"/>
                    </a:lnTo>
                    <a:lnTo>
                      <a:pt x="305" y="10"/>
                    </a:lnTo>
                    <a:lnTo>
                      <a:pt x="337" y="21"/>
                    </a:lnTo>
                    <a:lnTo>
                      <a:pt x="366" y="37"/>
                    </a:lnTo>
                    <a:lnTo>
                      <a:pt x="393" y="57"/>
                    </a:lnTo>
                    <a:lnTo>
                      <a:pt x="415" y="80"/>
                    </a:lnTo>
                    <a:lnTo>
                      <a:pt x="387" y="105"/>
                    </a:lnTo>
                    <a:lnTo>
                      <a:pt x="367" y="83"/>
                    </a:lnTo>
                    <a:lnTo>
                      <a:pt x="346" y="66"/>
                    </a:lnTo>
                    <a:lnTo>
                      <a:pt x="320" y="52"/>
                    </a:lnTo>
                    <a:lnTo>
                      <a:pt x="292" y="42"/>
                    </a:lnTo>
                    <a:lnTo>
                      <a:pt x="262" y="35"/>
                    </a:lnTo>
                    <a:lnTo>
                      <a:pt x="229" y="33"/>
                    </a:lnTo>
                    <a:lnTo>
                      <a:pt x="202" y="34"/>
                    </a:lnTo>
                    <a:lnTo>
                      <a:pt x="176" y="38"/>
                    </a:lnTo>
                    <a:lnTo>
                      <a:pt x="152" y="46"/>
                    </a:lnTo>
                    <a:lnTo>
                      <a:pt x="128" y="57"/>
                    </a:lnTo>
                    <a:lnTo>
                      <a:pt x="106" y="71"/>
                    </a:lnTo>
                    <a:lnTo>
                      <a:pt x="87" y="88"/>
                    </a:lnTo>
                    <a:lnTo>
                      <a:pt x="71" y="107"/>
                    </a:lnTo>
                    <a:lnTo>
                      <a:pt x="58" y="131"/>
                    </a:lnTo>
                    <a:lnTo>
                      <a:pt x="52" y="156"/>
                    </a:lnTo>
                    <a:lnTo>
                      <a:pt x="48" y="186"/>
                    </a:lnTo>
                    <a:lnTo>
                      <a:pt x="51" y="214"/>
                    </a:lnTo>
                    <a:lnTo>
                      <a:pt x="57" y="238"/>
                    </a:lnTo>
                    <a:lnTo>
                      <a:pt x="67" y="259"/>
                    </a:lnTo>
                    <a:lnTo>
                      <a:pt x="82" y="278"/>
                    </a:lnTo>
                    <a:lnTo>
                      <a:pt x="99" y="294"/>
                    </a:lnTo>
                    <a:lnTo>
                      <a:pt x="118" y="307"/>
                    </a:lnTo>
                    <a:lnTo>
                      <a:pt x="139" y="320"/>
                    </a:lnTo>
                    <a:lnTo>
                      <a:pt x="163" y="330"/>
                    </a:lnTo>
                    <a:lnTo>
                      <a:pt x="188" y="340"/>
                    </a:lnTo>
                    <a:lnTo>
                      <a:pt x="212" y="349"/>
                    </a:lnTo>
                    <a:lnTo>
                      <a:pt x="238" y="358"/>
                    </a:lnTo>
                    <a:lnTo>
                      <a:pt x="264" y="368"/>
                    </a:lnTo>
                    <a:lnTo>
                      <a:pt x="290" y="377"/>
                    </a:lnTo>
                    <a:lnTo>
                      <a:pt x="315" y="389"/>
                    </a:lnTo>
                    <a:lnTo>
                      <a:pt x="337" y="400"/>
                    </a:lnTo>
                    <a:lnTo>
                      <a:pt x="358" y="413"/>
                    </a:lnTo>
                    <a:lnTo>
                      <a:pt x="379" y="429"/>
                    </a:lnTo>
                    <a:lnTo>
                      <a:pt x="396" y="446"/>
                    </a:lnTo>
                    <a:lnTo>
                      <a:pt x="409" y="467"/>
                    </a:lnTo>
                    <a:lnTo>
                      <a:pt x="419" y="491"/>
                    </a:lnTo>
                    <a:lnTo>
                      <a:pt x="426" y="518"/>
                    </a:lnTo>
                    <a:lnTo>
                      <a:pt x="428" y="549"/>
                    </a:lnTo>
                    <a:lnTo>
                      <a:pt x="426" y="581"/>
                    </a:lnTo>
                    <a:lnTo>
                      <a:pt x="418" y="612"/>
                    </a:lnTo>
                    <a:lnTo>
                      <a:pt x="407" y="639"/>
                    </a:lnTo>
                    <a:lnTo>
                      <a:pt x="391" y="662"/>
                    </a:lnTo>
                    <a:lnTo>
                      <a:pt x="373" y="684"/>
                    </a:lnTo>
                    <a:lnTo>
                      <a:pt x="351" y="701"/>
                    </a:lnTo>
                    <a:lnTo>
                      <a:pt x="326" y="715"/>
                    </a:lnTo>
                    <a:lnTo>
                      <a:pt x="299" y="727"/>
                    </a:lnTo>
                    <a:lnTo>
                      <a:pt x="271" y="734"/>
                    </a:lnTo>
                    <a:lnTo>
                      <a:pt x="240" y="740"/>
                    </a:lnTo>
                    <a:lnTo>
                      <a:pt x="210" y="741"/>
                    </a:lnTo>
                    <a:lnTo>
                      <a:pt x="169" y="739"/>
                    </a:lnTo>
                    <a:lnTo>
                      <a:pt x="128" y="731"/>
                    </a:lnTo>
                    <a:lnTo>
                      <a:pt x="91" y="719"/>
                    </a:lnTo>
                    <a:lnTo>
                      <a:pt x="57" y="701"/>
                    </a:lnTo>
                    <a:lnTo>
                      <a:pt x="27" y="678"/>
                    </a:lnTo>
                    <a:lnTo>
                      <a:pt x="0" y="651"/>
                    </a:lnTo>
                    <a:lnTo>
                      <a:pt x="25" y="626"/>
                    </a:lnTo>
                    <a:lnTo>
                      <a:pt x="51" y="650"/>
                    </a:lnTo>
                    <a:lnTo>
                      <a:pt x="80" y="670"/>
                    </a:lnTo>
                    <a:lnTo>
                      <a:pt x="109" y="687"/>
                    </a:lnTo>
                    <a:lnTo>
                      <a:pt x="142" y="698"/>
                    </a:lnTo>
                    <a:lnTo>
                      <a:pt x="175" y="705"/>
                    </a:lnTo>
                    <a:lnTo>
                      <a:pt x="210" y="707"/>
                    </a:lnTo>
                    <a:lnTo>
                      <a:pt x="238" y="706"/>
                    </a:lnTo>
                    <a:lnTo>
                      <a:pt x="265" y="701"/>
                    </a:lnTo>
                    <a:lnTo>
                      <a:pt x="290" y="693"/>
                    </a:lnTo>
                    <a:lnTo>
                      <a:pt x="313" y="681"/>
                    </a:lnTo>
                    <a:lnTo>
                      <a:pt x="335" y="667"/>
                    </a:lnTo>
                    <a:lnTo>
                      <a:pt x="354" y="650"/>
                    </a:lnTo>
                    <a:lnTo>
                      <a:pt x="370" y="630"/>
                    </a:lnTo>
                    <a:lnTo>
                      <a:pt x="381" y="606"/>
                    </a:lnTo>
                    <a:lnTo>
                      <a:pt x="388" y="580"/>
                    </a:lnTo>
                    <a:lnTo>
                      <a:pt x="391" y="551"/>
                    </a:lnTo>
                    <a:lnTo>
                      <a:pt x="389" y="523"/>
                    </a:lnTo>
                    <a:lnTo>
                      <a:pt x="382" y="499"/>
                    </a:lnTo>
                    <a:lnTo>
                      <a:pt x="372" y="478"/>
                    </a:lnTo>
                    <a:lnTo>
                      <a:pt x="357" y="460"/>
                    </a:lnTo>
                    <a:lnTo>
                      <a:pt x="340" y="444"/>
                    </a:lnTo>
                    <a:lnTo>
                      <a:pt x="321" y="430"/>
                    </a:lnTo>
                    <a:lnTo>
                      <a:pt x="300" y="419"/>
                    </a:lnTo>
                    <a:lnTo>
                      <a:pt x="276" y="408"/>
                    </a:lnTo>
                    <a:lnTo>
                      <a:pt x="253" y="398"/>
                    </a:lnTo>
                    <a:lnTo>
                      <a:pt x="227" y="389"/>
                    </a:lnTo>
                    <a:lnTo>
                      <a:pt x="201" y="380"/>
                    </a:lnTo>
                    <a:lnTo>
                      <a:pt x="175" y="371"/>
                    </a:lnTo>
                    <a:lnTo>
                      <a:pt x="151" y="360"/>
                    </a:lnTo>
                    <a:lnTo>
                      <a:pt x="126" y="349"/>
                    </a:lnTo>
                    <a:lnTo>
                      <a:pt x="102" y="338"/>
                    </a:lnTo>
                    <a:lnTo>
                      <a:pt x="81" y="324"/>
                    </a:lnTo>
                    <a:lnTo>
                      <a:pt x="62" y="309"/>
                    </a:lnTo>
                    <a:lnTo>
                      <a:pt x="45" y="291"/>
                    </a:lnTo>
                    <a:lnTo>
                      <a:pt x="31" y="269"/>
                    </a:lnTo>
                    <a:lnTo>
                      <a:pt x="20" y="245"/>
                    </a:lnTo>
                    <a:lnTo>
                      <a:pt x="15" y="218"/>
                    </a:lnTo>
                    <a:lnTo>
                      <a:pt x="12" y="187"/>
                    </a:lnTo>
                    <a:lnTo>
                      <a:pt x="15" y="154"/>
                    </a:lnTo>
                    <a:lnTo>
                      <a:pt x="21" y="125"/>
                    </a:lnTo>
                    <a:lnTo>
                      <a:pt x="34" y="99"/>
                    </a:lnTo>
                    <a:lnTo>
                      <a:pt x="49" y="76"/>
                    </a:lnTo>
                    <a:lnTo>
                      <a:pt x="69" y="56"/>
                    </a:lnTo>
                    <a:lnTo>
                      <a:pt x="90" y="39"/>
                    </a:lnTo>
                    <a:lnTo>
                      <a:pt x="115" y="25"/>
                    </a:lnTo>
                    <a:lnTo>
                      <a:pt x="142" y="14"/>
                    </a:lnTo>
                    <a:lnTo>
                      <a:pt x="170" y="7"/>
                    </a:lnTo>
                    <a:lnTo>
                      <a:pt x="200" y="1"/>
                    </a:lnTo>
                    <a:lnTo>
                      <a:pt x="2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Freeform 20"/>
              <p:cNvSpPr>
                <a:spLocks noEditPoints="1"/>
              </p:cNvSpPr>
              <p:nvPr userDrawn="1"/>
            </p:nvSpPr>
            <p:spPr bwMode="auto">
              <a:xfrm>
                <a:off x="400780" y="540371"/>
                <a:ext cx="157928" cy="173771"/>
              </a:xfrm>
              <a:custGeom>
                <a:avLst/>
                <a:gdLst>
                  <a:gd name="T0" fmla="*/ 323 w 640"/>
                  <a:gd name="T1" fmla="*/ 34 h 703"/>
                  <a:gd name="T2" fmla="*/ 137 w 640"/>
                  <a:gd name="T3" fmla="*/ 474 h 703"/>
                  <a:gd name="T4" fmla="*/ 505 w 640"/>
                  <a:gd name="T5" fmla="*/ 474 h 703"/>
                  <a:gd name="T6" fmla="*/ 323 w 640"/>
                  <a:gd name="T7" fmla="*/ 34 h 703"/>
                  <a:gd name="T8" fmla="*/ 304 w 640"/>
                  <a:gd name="T9" fmla="*/ 0 h 703"/>
                  <a:gd name="T10" fmla="*/ 344 w 640"/>
                  <a:gd name="T11" fmla="*/ 0 h 703"/>
                  <a:gd name="T12" fmla="*/ 640 w 640"/>
                  <a:gd name="T13" fmla="*/ 703 h 703"/>
                  <a:gd name="T14" fmla="*/ 599 w 640"/>
                  <a:gd name="T15" fmla="*/ 703 h 703"/>
                  <a:gd name="T16" fmla="*/ 518 w 640"/>
                  <a:gd name="T17" fmla="*/ 507 h 703"/>
                  <a:gd name="T18" fmla="*/ 124 w 640"/>
                  <a:gd name="T19" fmla="*/ 507 h 703"/>
                  <a:gd name="T20" fmla="*/ 41 w 640"/>
                  <a:gd name="T21" fmla="*/ 703 h 703"/>
                  <a:gd name="T22" fmla="*/ 0 w 640"/>
                  <a:gd name="T23" fmla="*/ 703 h 703"/>
                  <a:gd name="T24" fmla="*/ 304 w 640"/>
                  <a:gd name="T25"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0" h="703">
                    <a:moveTo>
                      <a:pt x="323" y="34"/>
                    </a:moveTo>
                    <a:lnTo>
                      <a:pt x="137" y="474"/>
                    </a:lnTo>
                    <a:lnTo>
                      <a:pt x="505" y="474"/>
                    </a:lnTo>
                    <a:lnTo>
                      <a:pt x="323" y="34"/>
                    </a:lnTo>
                    <a:close/>
                    <a:moveTo>
                      <a:pt x="304" y="0"/>
                    </a:moveTo>
                    <a:lnTo>
                      <a:pt x="344" y="0"/>
                    </a:lnTo>
                    <a:lnTo>
                      <a:pt x="640" y="703"/>
                    </a:lnTo>
                    <a:lnTo>
                      <a:pt x="599" y="703"/>
                    </a:lnTo>
                    <a:lnTo>
                      <a:pt x="518" y="507"/>
                    </a:lnTo>
                    <a:lnTo>
                      <a:pt x="124" y="507"/>
                    </a:lnTo>
                    <a:lnTo>
                      <a:pt x="41" y="703"/>
                    </a:lnTo>
                    <a:lnTo>
                      <a:pt x="0" y="703"/>
                    </a:lnTo>
                    <a:lnTo>
                      <a:pt x="3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
              <p:cNvSpPr>
                <a:spLocks/>
              </p:cNvSpPr>
              <p:nvPr userDrawn="1"/>
            </p:nvSpPr>
            <p:spPr bwMode="auto">
              <a:xfrm>
                <a:off x="574056" y="535420"/>
                <a:ext cx="105946" cy="183672"/>
              </a:xfrm>
              <a:custGeom>
                <a:avLst/>
                <a:gdLst>
                  <a:gd name="T0" fmla="*/ 269 w 429"/>
                  <a:gd name="T1" fmla="*/ 2 h 741"/>
                  <a:gd name="T2" fmla="*/ 338 w 429"/>
                  <a:gd name="T3" fmla="*/ 21 h 741"/>
                  <a:gd name="T4" fmla="*/ 394 w 429"/>
                  <a:gd name="T5" fmla="*/ 57 h 741"/>
                  <a:gd name="T6" fmla="*/ 387 w 429"/>
                  <a:gd name="T7" fmla="*/ 105 h 741"/>
                  <a:gd name="T8" fmla="*/ 347 w 429"/>
                  <a:gd name="T9" fmla="*/ 66 h 741"/>
                  <a:gd name="T10" fmla="*/ 293 w 429"/>
                  <a:gd name="T11" fmla="*/ 42 h 741"/>
                  <a:gd name="T12" fmla="*/ 230 w 429"/>
                  <a:gd name="T13" fmla="*/ 33 h 741"/>
                  <a:gd name="T14" fmla="*/ 177 w 429"/>
                  <a:gd name="T15" fmla="*/ 38 h 741"/>
                  <a:gd name="T16" fmla="*/ 129 w 429"/>
                  <a:gd name="T17" fmla="*/ 57 h 741"/>
                  <a:gd name="T18" fmla="*/ 87 w 429"/>
                  <a:gd name="T19" fmla="*/ 88 h 741"/>
                  <a:gd name="T20" fmla="*/ 60 w 429"/>
                  <a:gd name="T21" fmla="*/ 131 h 741"/>
                  <a:gd name="T22" fmla="*/ 49 w 429"/>
                  <a:gd name="T23" fmla="*/ 186 h 741"/>
                  <a:gd name="T24" fmla="*/ 58 w 429"/>
                  <a:gd name="T25" fmla="*/ 238 h 741"/>
                  <a:gd name="T26" fmla="*/ 82 w 429"/>
                  <a:gd name="T27" fmla="*/ 278 h 741"/>
                  <a:gd name="T28" fmla="*/ 118 w 429"/>
                  <a:gd name="T29" fmla="*/ 307 h 741"/>
                  <a:gd name="T30" fmla="*/ 163 w 429"/>
                  <a:gd name="T31" fmla="*/ 330 h 741"/>
                  <a:gd name="T32" fmla="*/ 213 w 429"/>
                  <a:gd name="T33" fmla="*/ 349 h 741"/>
                  <a:gd name="T34" fmla="*/ 264 w 429"/>
                  <a:gd name="T35" fmla="*/ 368 h 741"/>
                  <a:gd name="T36" fmla="*/ 315 w 429"/>
                  <a:gd name="T37" fmla="*/ 389 h 741"/>
                  <a:gd name="T38" fmla="*/ 359 w 429"/>
                  <a:gd name="T39" fmla="*/ 413 h 741"/>
                  <a:gd name="T40" fmla="*/ 396 w 429"/>
                  <a:gd name="T41" fmla="*/ 446 h 741"/>
                  <a:gd name="T42" fmla="*/ 420 w 429"/>
                  <a:gd name="T43" fmla="*/ 491 h 741"/>
                  <a:gd name="T44" fmla="*/ 429 w 429"/>
                  <a:gd name="T45" fmla="*/ 549 h 741"/>
                  <a:gd name="T46" fmla="*/ 418 w 429"/>
                  <a:gd name="T47" fmla="*/ 612 h 741"/>
                  <a:gd name="T48" fmla="*/ 391 w 429"/>
                  <a:gd name="T49" fmla="*/ 662 h 741"/>
                  <a:gd name="T50" fmla="*/ 351 w 429"/>
                  <a:gd name="T51" fmla="*/ 701 h 741"/>
                  <a:gd name="T52" fmla="*/ 299 w 429"/>
                  <a:gd name="T53" fmla="*/ 727 h 741"/>
                  <a:gd name="T54" fmla="*/ 241 w 429"/>
                  <a:gd name="T55" fmla="*/ 740 h 741"/>
                  <a:gd name="T56" fmla="*/ 169 w 429"/>
                  <a:gd name="T57" fmla="*/ 739 h 741"/>
                  <a:gd name="T58" fmla="*/ 91 w 429"/>
                  <a:gd name="T59" fmla="*/ 719 h 741"/>
                  <a:gd name="T60" fmla="*/ 27 w 429"/>
                  <a:gd name="T61" fmla="*/ 678 h 741"/>
                  <a:gd name="T62" fmla="*/ 25 w 429"/>
                  <a:gd name="T63" fmla="*/ 626 h 741"/>
                  <a:gd name="T64" fmla="*/ 80 w 429"/>
                  <a:gd name="T65" fmla="*/ 670 h 741"/>
                  <a:gd name="T66" fmla="*/ 142 w 429"/>
                  <a:gd name="T67" fmla="*/ 698 h 741"/>
                  <a:gd name="T68" fmla="*/ 211 w 429"/>
                  <a:gd name="T69" fmla="*/ 707 h 741"/>
                  <a:gd name="T70" fmla="*/ 266 w 429"/>
                  <a:gd name="T71" fmla="*/ 701 h 741"/>
                  <a:gd name="T72" fmla="*/ 314 w 429"/>
                  <a:gd name="T73" fmla="*/ 681 h 741"/>
                  <a:gd name="T74" fmla="*/ 354 w 429"/>
                  <a:gd name="T75" fmla="*/ 650 h 741"/>
                  <a:gd name="T76" fmla="*/ 381 w 429"/>
                  <a:gd name="T77" fmla="*/ 606 h 741"/>
                  <a:gd name="T78" fmla="*/ 391 w 429"/>
                  <a:gd name="T79" fmla="*/ 551 h 741"/>
                  <a:gd name="T80" fmla="*/ 382 w 429"/>
                  <a:gd name="T81" fmla="*/ 499 h 741"/>
                  <a:gd name="T82" fmla="*/ 358 w 429"/>
                  <a:gd name="T83" fmla="*/ 460 h 741"/>
                  <a:gd name="T84" fmla="*/ 322 w 429"/>
                  <a:gd name="T85" fmla="*/ 430 h 741"/>
                  <a:gd name="T86" fmla="*/ 277 w 429"/>
                  <a:gd name="T87" fmla="*/ 408 h 741"/>
                  <a:gd name="T88" fmla="*/ 227 w 429"/>
                  <a:gd name="T89" fmla="*/ 389 h 741"/>
                  <a:gd name="T90" fmla="*/ 176 w 429"/>
                  <a:gd name="T91" fmla="*/ 371 h 741"/>
                  <a:gd name="T92" fmla="*/ 126 w 429"/>
                  <a:gd name="T93" fmla="*/ 349 h 741"/>
                  <a:gd name="T94" fmla="*/ 81 w 429"/>
                  <a:gd name="T95" fmla="*/ 324 h 741"/>
                  <a:gd name="T96" fmla="*/ 45 w 429"/>
                  <a:gd name="T97" fmla="*/ 291 h 741"/>
                  <a:gd name="T98" fmla="*/ 21 w 429"/>
                  <a:gd name="T99" fmla="*/ 245 h 741"/>
                  <a:gd name="T100" fmla="*/ 13 w 429"/>
                  <a:gd name="T101" fmla="*/ 187 h 741"/>
                  <a:gd name="T102" fmla="*/ 22 w 429"/>
                  <a:gd name="T103" fmla="*/ 125 h 741"/>
                  <a:gd name="T104" fmla="*/ 50 w 429"/>
                  <a:gd name="T105" fmla="*/ 76 h 741"/>
                  <a:gd name="T106" fmla="*/ 90 w 429"/>
                  <a:gd name="T107" fmla="*/ 39 h 741"/>
                  <a:gd name="T108" fmla="*/ 142 w 429"/>
                  <a:gd name="T109" fmla="*/ 14 h 741"/>
                  <a:gd name="T110" fmla="*/ 200 w 429"/>
                  <a:gd name="T111" fmla="*/ 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9" h="741">
                    <a:moveTo>
                      <a:pt x="231" y="0"/>
                    </a:moveTo>
                    <a:lnTo>
                      <a:pt x="269" y="2"/>
                    </a:lnTo>
                    <a:lnTo>
                      <a:pt x="305" y="10"/>
                    </a:lnTo>
                    <a:lnTo>
                      <a:pt x="338" y="21"/>
                    </a:lnTo>
                    <a:lnTo>
                      <a:pt x="367" y="37"/>
                    </a:lnTo>
                    <a:lnTo>
                      <a:pt x="394" y="57"/>
                    </a:lnTo>
                    <a:lnTo>
                      <a:pt x="415" y="80"/>
                    </a:lnTo>
                    <a:lnTo>
                      <a:pt x="387" y="105"/>
                    </a:lnTo>
                    <a:lnTo>
                      <a:pt x="368" y="83"/>
                    </a:lnTo>
                    <a:lnTo>
                      <a:pt x="347" y="66"/>
                    </a:lnTo>
                    <a:lnTo>
                      <a:pt x="321" y="52"/>
                    </a:lnTo>
                    <a:lnTo>
                      <a:pt x="293" y="42"/>
                    </a:lnTo>
                    <a:lnTo>
                      <a:pt x="262" y="35"/>
                    </a:lnTo>
                    <a:lnTo>
                      <a:pt x="230" y="33"/>
                    </a:lnTo>
                    <a:lnTo>
                      <a:pt x="203" y="34"/>
                    </a:lnTo>
                    <a:lnTo>
                      <a:pt x="177" y="38"/>
                    </a:lnTo>
                    <a:lnTo>
                      <a:pt x="152" y="46"/>
                    </a:lnTo>
                    <a:lnTo>
                      <a:pt x="129" y="57"/>
                    </a:lnTo>
                    <a:lnTo>
                      <a:pt x="106" y="71"/>
                    </a:lnTo>
                    <a:lnTo>
                      <a:pt x="87" y="88"/>
                    </a:lnTo>
                    <a:lnTo>
                      <a:pt x="71" y="107"/>
                    </a:lnTo>
                    <a:lnTo>
                      <a:pt x="60" y="131"/>
                    </a:lnTo>
                    <a:lnTo>
                      <a:pt x="52" y="156"/>
                    </a:lnTo>
                    <a:lnTo>
                      <a:pt x="49" y="186"/>
                    </a:lnTo>
                    <a:lnTo>
                      <a:pt x="51" y="214"/>
                    </a:lnTo>
                    <a:lnTo>
                      <a:pt x="58" y="238"/>
                    </a:lnTo>
                    <a:lnTo>
                      <a:pt x="68" y="259"/>
                    </a:lnTo>
                    <a:lnTo>
                      <a:pt x="82" y="278"/>
                    </a:lnTo>
                    <a:lnTo>
                      <a:pt x="99" y="294"/>
                    </a:lnTo>
                    <a:lnTo>
                      <a:pt x="118" y="307"/>
                    </a:lnTo>
                    <a:lnTo>
                      <a:pt x="140" y="320"/>
                    </a:lnTo>
                    <a:lnTo>
                      <a:pt x="163" y="330"/>
                    </a:lnTo>
                    <a:lnTo>
                      <a:pt x="188" y="340"/>
                    </a:lnTo>
                    <a:lnTo>
                      <a:pt x="213" y="349"/>
                    </a:lnTo>
                    <a:lnTo>
                      <a:pt x="239" y="358"/>
                    </a:lnTo>
                    <a:lnTo>
                      <a:pt x="264" y="368"/>
                    </a:lnTo>
                    <a:lnTo>
                      <a:pt x="290" y="377"/>
                    </a:lnTo>
                    <a:lnTo>
                      <a:pt x="315" y="389"/>
                    </a:lnTo>
                    <a:lnTo>
                      <a:pt x="338" y="400"/>
                    </a:lnTo>
                    <a:lnTo>
                      <a:pt x="359" y="413"/>
                    </a:lnTo>
                    <a:lnTo>
                      <a:pt x="379" y="429"/>
                    </a:lnTo>
                    <a:lnTo>
                      <a:pt x="396" y="446"/>
                    </a:lnTo>
                    <a:lnTo>
                      <a:pt x="409" y="467"/>
                    </a:lnTo>
                    <a:lnTo>
                      <a:pt x="420" y="491"/>
                    </a:lnTo>
                    <a:lnTo>
                      <a:pt x="426" y="518"/>
                    </a:lnTo>
                    <a:lnTo>
                      <a:pt x="429" y="549"/>
                    </a:lnTo>
                    <a:lnTo>
                      <a:pt x="426" y="581"/>
                    </a:lnTo>
                    <a:lnTo>
                      <a:pt x="418" y="612"/>
                    </a:lnTo>
                    <a:lnTo>
                      <a:pt x="407" y="639"/>
                    </a:lnTo>
                    <a:lnTo>
                      <a:pt x="391" y="662"/>
                    </a:lnTo>
                    <a:lnTo>
                      <a:pt x="373" y="684"/>
                    </a:lnTo>
                    <a:lnTo>
                      <a:pt x="351" y="701"/>
                    </a:lnTo>
                    <a:lnTo>
                      <a:pt x="326" y="715"/>
                    </a:lnTo>
                    <a:lnTo>
                      <a:pt x="299" y="727"/>
                    </a:lnTo>
                    <a:lnTo>
                      <a:pt x="271" y="734"/>
                    </a:lnTo>
                    <a:lnTo>
                      <a:pt x="241" y="740"/>
                    </a:lnTo>
                    <a:lnTo>
                      <a:pt x="211" y="741"/>
                    </a:lnTo>
                    <a:lnTo>
                      <a:pt x="169" y="739"/>
                    </a:lnTo>
                    <a:lnTo>
                      <a:pt x="129" y="731"/>
                    </a:lnTo>
                    <a:lnTo>
                      <a:pt x="91" y="719"/>
                    </a:lnTo>
                    <a:lnTo>
                      <a:pt x="58" y="701"/>
                    </a:lnTo>
                    <a:lnTo>
                      <a:pt x="27" y="678"/>
                    </a:lnTo>
                    <a:lnTo>
                      <a:pt x="0" y="651"/>
                    </a:lnTo>
                    <a:lnTo>
                      <a:pt x="25" y="626"/>
                    </a:lnTo>
                    <a:lnTo>
                      <a:pt x="51" y="650"/>
                    </a:lnTo>
                    <a:lnTo>
                      <a:pt x="80" y="670"/>
                    </a:lnTo>
                    <a:lnTo>
                      <a:pt x="109" y="687"/>
                    </a:lnTo>
                    <a:lnTo>
                      <a:pt x="142" y="698"/>
                    </a:lnTo>
                    <a:lnTo>
                      <a:pt x="176" y="705"/>
                    </a:lnTo>
                    <a:lnTo>
                      <a:pt x="211" y="707"/>
                    </a:lnTo>
                    <a:lnTo>
                      <a:pt x="239" y="706"/>
                    </a:lnTo>
                    <a:lnTo>
                      <a:pt x="266" y="701"/>
                    </a:lnTo>
                    <a:lnTo>
                      <a:pt x="290" y="693"/>
                    </a:lnTo>
                    <a:lnTo>
                      <a:pt x="314" y="681"/>
                    </a:lnTo>
                    <a:lnTo>
                      <a:pt x="335" y="667"/>
                    </a:lnTo>
                    <a:lnTo>
                      <a:pt x="354" y="650"/>
                    </a:lnTo>
                    <a:lnTo>
                      <a:pt x="370" y="630"/>
                    </a:lnTo>
                    <a:lnTo>
                      <a:pt x="381" y="606"/>
                    </a:lnTo>
                    <a:lnTo>
                      <a:pt x="388" y="580"/>
                    </a:lnTo>
                    <a:lnTo>
                      <a:pt x="391" y="551"/>
                    </a:lnTo>
                    <a:lnTo>
                      <a:pt x="389" y="523"/>
                    </a:lnTo>
                    <a:lnTo>
                      <a:pt x="382" y="499"/>
                    </a:lnTo>
                    <a:lnTo>
                      <a:pt x="372" y="478"/>
                    </a:lnTo>
                    <a:lnTo>
                      <a:pt x="358" y="460"/>
                    </a:lnTo>
                    <a:lnTo>
                      <a:pt x="341" y="444"/>
                    </a:lnTo>
                    <a:lnTo>
                      <a:pt x="322" y="430"/>
                    </a:lnTo>
                    <a:lnTo>
                      <a:pt x="300" y="419"/>
                    </a:lnTo>
                    <a:lnTo>
                      <a:pt x="277" y="408"/>
                    </a:lnTo>
                    <a:lnTo>
                      <a:pt x="253" y="398"/>
                    </a:lnTo>
                    <a:lnTo>
                      <a:pt x="227" y="389"/>
                    </a:lnTo>
                    <a:lnTo>
                      <a:pt x="202" y="380"/>
                    </a:lnTo>
                    <a:lnTo>
                      <a:pt x="176" y="371"/>
                    </a:lnTo>
                    <a:lnTo>
                      <a:pt x="151" y="360"/>
                    </a:lnTo>
                    <a:lnTo>
                      <a:pt x="126" y="349"/>
                    </a:lnTo>
                    <a:lnTo>
                      <a:pt x="103" y="338"/>
                    </a:lnTo>
                    <a:lnTo>
                      <a:pt x="81" y="324"/>
                    </a:lnTo>
                    <a:lnTo>
                      <a:pt x="62" y="309"/>
                    </a:lnTo>
                    <a:lnTo>
                      <a:pt x="45" y="291"/>
                    </a:lnTo>
                    <a:lnTo>
                      <a:pt x="32" y="269"/>
                    </a:lnTo>
                    <a:lnTo>
                      <a:pt x="21" y="245"/>
                    </a:lnTo>
                    <a:lnTo>
                      <a:pt x="15" y="218"/>
                    </a:lnTo>
                    <a:lnTo>
                      <a:pt x="13" y="187"/>
                    </a:lnTo>
                    <a:lnTo>
                      <a:pt x="15" y="154"/>
                    </a:lnTo>
                    <a:lnTo>
                      <a:pt x="22" y="125"/>
                    </a:lnTo>
                    <a:lnTo>
                      <a:pt x="34" y="99"/>
                    </a:lnTo>
                    <a:lnTo>
                      <a:pt x="50" y="76"/>
                    </a:lnTo>
                    <a:lnTo>
                      <a:pt x="69" y="56"/>
                    </a:lnTo>
                    <a:lnTo>
                      <a:pt x="90" y="39"/>
                    </a:lnTo>
                    <a:lnTo>
                      <a:pt x="115" y="25"/>
                    </a:lnTo>
                    <a:lnTo>
                      <a:pt x="142" y="14"/>
                    </a:lnTo>
                    <a:lnTo>
                      <a:pt x="170" y="7"/>
                    </a:lnTo>
                    <a:lnTo>
                      <a:pt x="200" y="1"/>
                    </a:lnTo>
                    <a:lnTo>
                      <a:pt x="23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noEditPoints="1"/>
              </p:cNvSpPr>
              <p:nvPr userDrawn="1"/>
            </p:nvSpPr>
            <p:spPr bwMode="auto">
              <a:xfrm>
                <a:off x="690398" y="536905"/>
                <a:ext cx="20793" cy="20298"/>
              </a:xfrm>
              <a:custGeom>
                <a:avLst/>
                <a:gdLst>
                  <a:gd name="T0" fmla="*/ 33 w 84"/>
                  <a:gd name="T1" fmla="*/ 41 h 84"/>
                  <a:gd name="T2" fmla="*/ 44 w 84"/>
                  <a:gd name="T3" fmla="*/ 41 h 84"/>
                  <a:gd name="T4" fmla="*/ 50 w 84"/>
                  <a:gd name="T5" fmla="*/ 39 h 84"/>
                  <a:gd name="T6" fmla="*/ 53 w 84"/>
                  <a:gd name="T7" fmla="*/ 35 h 84"/>
                  <a:gd name="T8" fmla="*/ 53 w 84"/>
                  <a:gd name="T9" fmla="*/ 29 h 84"/>
                  <a:gd name="T10" fmla="*/ 51 w 84"/>
                  <a:gd name="T11" fmla="*/ 25 h 84"/>
                  <a:gd name="T12" fmla="*/ 45 w 84"/>
                  <a:gd name="T13" fmla="*/ 23 h 84"/>
                  <a:gd name="T14" fmla="*/ 33 w 84"/>
                  <a:gd name="T15" fmla="*/ 23 h 84"/>
                  <a:gd name="T16" fmla="*/ 43 w 84"/>
                  <a:gd name="T17" fmla="*/ 19 h 84"/>
                  <a:gd name="T18" fmla="*/ 52 w 84"/>
                  <a:gd name="T19" fmla="*/ 20 h 84"/>
                  <a:gd name="T20" fmla="*/ 57 w 84"/>
                  <a:gd name="T21" fmla="*/ 24 h 84"/>
                  <a:gd name="T22" fmla="*/ 59 w 84"/>
                  <a:gd name="T23" fmla="*/ 32 h 84"/>
                  <a:gd name="T24" fmla="*/ 56 w 84"/>
                  <a:gd name="T25" fmla="*/ 40 h 84"/>
                  <a:gd name="T26" fmla="*/ 51 w 84"/>
                  <a:gd name="T27" fmla="*/ 44 h 84"/>
                  <a:gd name="T28" fmla="*/ 61 w 84"/>
                  <a:gd name="T29" fmla="*/ 66 h 84"/>
                  <a:gd name="T30" fmla="*/ 42 w 84"/>
                  <a:gd name="T31" fmla="*/ 46 h 84"/>
                  <a:gd name="T32" fmla="*/ 33 w 84"/>
                  <a:gd name="T33" fmla="*/ 66 h 84"/>
                  <a:gd name="T34" fmla="*/ 27 w 84"/>
                  <a:gd name="T35" fmla="*/ 19 h 84"/>
                  <a:gd name="T36" fmla="*/ 27 w 84"/>
                  <a:gd name="T37" fmla="*/ 8 h 84"/>
                  <a:gd name="T38" fmla="*/ 8 w 84"/>
                  <a:gd name="T39" fmla="*/ 28 h 84"/>
                  <a:gd name="T40" fmla="*/ 8 w 84"/>
                  <a:gd name="T41" fmla="*/ 57 h 84"/>
                  <a:gd name="T42" fmla="*/ 27 w 84"/>
                  <a:gd name="T43" fmla="*/ 77 h 84"/>
                  <a:gd name="T44" fmla="*/ 56 w 84"/>
                  <a:gd name="T45" fmla="*/ 77 h 84"/>
                  <a:gd name="T46" fmla="*/ 77 w 84"/>
                  <a:gd name="T47" fmla="*/ 57 h 84"/>
                  <a:gd name="T48" fmla="*/ 77 w 84"/>
                  <a:gd name="T49" fmla="*/ 28 h 84"/>
                  <a:gd name="T50" fmla="*/ 56 w 84"/>
                  <a:gd name="T51" fmla="*/ 8 h 84"/>
                  <a:gd name="T52" fmla="*/ 42 w 84"/>
                  <a:gd name="T53" fmla="*/ 0 h 84"/>
                  <a:gd name="T54" fmla="*/ 72 w 84"/>
                  <a:gd name="T55" fmla="*/ 13 h 84"/>
                  <a:gd name="T56" fmla="*/ 84 w 84"/>
                  <a:gd name="T57" fmla="*/ 42 h 84"/>
                  <a:gd name="T58" fmla="*/ 72 w 84"/>
                  <a:gd name="T59" fmla="*/ 73 h 84"/>
                  <a:gd name="T60" fmla="*/ 42 w 84"/>
                  <a:gd name="T61" fmla="*/ 84 h 84"/>
                  <a:gd name="T62" fmla="*/ 17 w 84"/>
                  <a:gd name="T63" fmla="*/ 76 h 84"/>
                  <a:gd name="T64" fmla="*/ 2 w 84"/>
                  <a:gd name="T65" fmla="*/ 56 h 84"/>
                  <a:gd name="T66" fmla="*/ 3 w 84"/>
                  <a:gd name="T67" fmla="*/ 26 h 84"/>
                  <a:gd name="T68" fmla="*/ 26 w 84"/>
                  <a:gd name="T69"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4">
                    <a:moveTo>
                      <a:pt x="33" y="23"/>
                    </a:moveTo>
                    <a:lnTo>
                      <a:pt x="33" y="41"/>
                    </a:lnTo>
                    <a:lnTo>
                      <a:pt x="41" y="41"/>
                    </a:lnTo>
                    <a:lnTo>
                      <a:pt x="44" y="41"/>
                    </a:lnTo>
                    <a:lnTo>
                      <a:pt x="47" y="40"/>
                    </a:lnTo>
                    <a:lnTo>
                      <a:pt x="50" y="39"/>
                    </a:lnTo>
                    <a:lnTo>
                      <a:pt x="52" y="38"/>
                    </a:lnTo>
                    <a:lnTo>
                      <a:pt x="53" y="35"/>
                    </a:lnTo>
                    <a:lnTo>
                      <a:pt x="54" y="32"/>
                    </a:lnTo>
                    <a:lnTo>
                      <a:pt x="53" y="29"/>
                    </a:lnTo>
                    <a:lnTo>
                      <a:pt x="52" y="26"/>
                    </a:lnTo>
                    <a:lnTo>
                      <a:pt x="51" y="25"/>
                    </a:lnTo>
                    <a:lnTo>
                      <a:pt x="48" y="24"/>
                    </a:lnTo>
                    <a:lnTo>
                      <a:pt x="45" y="23"/>
                    </a:lnTo>
                    <a:lnTo>
                      <a:pt x="43" y="23"/>
                    </a:lnTo>
                    <a:lnTo>
                      <a:pt x="33" y="23"/>
                    </a:lnTo>
                    <a:close/>
                    <a:moveTo>
                      <a:pt x="27" y="19"/>
                    </a:moveTo>
                    <a:lnTo>
                      <a:pt x="43" y="19"/>
                    </a:lnTo>
                    <a:lnTo>
                      <a:pt x="47" y="20"/>
                    </a:lnTo>
                    <a:lnTo>
                      <a:pt x="52" y="20"/>
                    </a:lnTo>
                    <a:lnTo>
                      <a:pt x="54" y="22"/>
                    </a:lnTo>
                    <a:lnTo>
                      <a:pt x="57" y="24"/>
                    </a:lnTo>
                    <a:lnTo>
                      <a:pt x="59" y="28"/>
                    </a:lnTo>
                    <a:lnTo>
                      <a:pt x="59" y="32"/>
                    </a:lnTo>
                    <a:lnTo>
                      <a:pt x="59" y="37"/>
                    </a:lnTo>
                    <a:lnTo>
                      <a:pt x="56" y="40"/>
                    </a:lnTo>
                    <a:lnTo>
                      <a:pt x="54" y="42"/>
                    </a:lnTo>
                    <a:lnTo>
                      <a:pt x="51" y="44"/>
                    </a:lnTo>
                    <a:lnTo>
                      <a:pt x="47" y="44"/>
                    </a:lnTo>
                    <a:lnTo>
                      <a:pt x="61" y="66"/>
                    </a:lnTo>
                    <a:lnTo>
                      <a:pt x="54" y="66"/>
                    </a:lnTo>
                    <a:lnTo>
                      <a:pt x="42" y="46"/>
                    </a:lnTo>
                    <a:lnTo>
                      <a:pt x="33" y="46"/>
                    </a:lnTo>
                    <a:lnTo>
                      <a:pt x="33" y="66"/>
                    </a:lnTo>
                    <a:lnTo>
                      <a:pt x="27" y="66"/>
                    </a:lnTo>
                    <a:lnTo>
                      <a:pt x="27" y="19"/>
                    </a:lnTo>
                    <a:close/>
                    <a:moveTo>
                      <a:pt x="42" y="5"/>
                    </a:moveTo>
                    <a:lnTo>
                      <a:pt x="27" y="8"/>
                    </a:lnTo>
                    <a:lnTo>
                      <a:pt x="16" y="16"/>
                    </a:lnTo>
                    <a:lnTo>
                      <a:pt x="8" y="28"/>
                    </a:lnTo>
                    <a:lnTo>
                      <a:pt x="5" y="42"/>
                    </a:lnTo>
                    <a:lnTo>
                      <a:pt x="8" y="57"/>
                    </a:lnTo>
                    <a:lnTo>
                      <a:pt x="16" y="69"/>
                    </a:lnTo>
                    <a:lnTo>
                      <a:pt x="27" y="77"/>
                    </a:lnTo>
                    <a:lnTo>
                      <a:pt x="42" y="80"/>
                    </a:lnTo>
                    <a:lnTo>
                      <a:pt x="56" y="77"/>
                    </a:lnTo>
                    <a:lnTo>
                      <a:pt x="69" y="69"/>
                    </a:lnTo>
                    <a:lnTo>
                      <a:pt x="77" y="57"/>
                    </a:lnTo>
                    <a:lnTo>
                      <a:pt x="80" y="42"/>
                    </a:lnTo>
                    <a:lnTo>
                      <a:pt x="77" y="28"/>
                    </a:lnTo>
                    <a:lnTo>
                      <a:pt x="69" y="16"/>
                    </a:lnTo>
                    <a:lnTo>
                      <a:pt x="56" y="8"/>
                    </a:lnTo>
                    <a:lnTo>
                      <a:pt x="42" y="5"/>
                    </a:lnTo>
                    <a:close/>
                    <a:moveTo>
                      <a:pt x="42" y="0"/>
                    </a:moveTo>
                    <a:lnTo>
                      <a:pt x="59" y="4"/>
                    </a:lnTo>
                    <a:lnTo>
                      <a:pt x="72" y="13"/>
                    </a:lnTo>
                    <a:lnTo>
                      <a:pt x="81" y="26"/>
                    </a:lnTo>
                    <a:lnTo>
                      <a:pt x="84" y="42"/>
                    </a:lnTo>
                    <a:lnTo>
                      <a:pt x="81" y="59"/>
                    </a:lnTo>
                    <a:lnTo>
                      <a:pt x="72" y="73"/>
                    </a:lnTo>
                    <a:lnTo>
                      <a:pt x="59" y="82"/>
                    </a:lnTo>
                    <a:lnTo>
                      <a:pt x="42" y="84"/>
                    </a:lnTo>
                    <a:lnTo>
                      <a:pt x="29" y="83"/>
                    </a:lnTo>
                    <a:lnTo>
                      <a:pt x="17" y="76"/>
                    </a:lnTo>
                    <a:lnTo>
                      <a:pt x="8" y="67"/>
                    </a:lnTo>
                    <a:lnTo>
                      <a:pt x="2" y="56"/>
                    </a:lnTo>
                    <a:lnTo>
                      <a:pt x="0" y="42"/>
                    </a:lnTo>
                    <a:lnTo>
                      <a:pt x="3" y="26"/>
                    </a:lnTo>
                    <a:lnTo>
                      <a:pt x="12" y="13"/>
                    </a:lnTo>
                    <a:lnTo>
                      <a:pt x="26" y="4"/>
                    </a:lnTo>
                    <a:lnTo>
                      <a:pt x="4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761688" y="540371"/>
                <a:ext cx="143571" cy="173771"/>
              </a:xfrm>
              <a:custGeom>
                <a:avLst/>
                <a:gdLst>
                  <a:gd name="T0" fmla="*/ 0 w 580"/>
                  <a:gd name="T1" fmla="*/ 0 h 703"/>
                  <a:gd name="T2" fmla="*/ 40 w 580"/>
                  <a:gd name="T3" fmla="*/ 0 h 703"/>
                  <a:gd name="T4" fmla="*/ 288 w 580"/>
                  <a:gd name="T5" fmla="*/ 660 h 703"/>
                  <a:gd name="T6" fmla="*/ 290 w 580"/>
                  <a:gd name="T7" fmla="*/ 660 h 703"/>
                  <a:gd name="T8" fmla="*/ 540 w 580"/>
                  <a:gd name="T9" fmla="*/ 0 h 703"/>
                  <a:gd name="T10" fmla="*/ 580 w 580"/>
                  <a:gd name="T11" fmla="*/ 0 h 703"/>
                  <a:gd name="T12" fmla="*/ 312 w 580"/>
                  <a:gd name="T13" fmla="*/ 703 h 703"/>
                  <a:gd name="T14" fmla="*/ 265 w 580"/>
                  <a:gd name="T15" fmla="*/ 703 h 703"/>
                  <a:gd name="T16" fmla="*/ 0 w 580"/>
                  <a:gd name="T17"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703">
                    <a:moveTo>
                      <a:pt x="0" y="0"/>
                    </a:moveTo>
                    <a:lnTo>
                      <a:pt x="40" y="0"/>
                    </a:lnTo>
                    <a:lnTo>
                      <a:pt x="288" y="660"/>
                    </a:lnTo>
                    <a:lnTo>
                      <a:pt x="290" y="660"/>
                    </a:lnTo>
                    <a:lnTo>
                      <a:pt x="540" y="0"/>
                    </a:lnTo>
                    <a:lnTo>
                      <a:pt x="580" y="0"/>
                    </a:lnTo>
                    <a:lnTo>
                      <a:pt x="312" y="703"/>
                    </a:lnTo>
                    <a:lnTo>
                      <a:pt x="265" y="703"/>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4"/>
              <p:cNvSpPr>
                <a:spLocks noEditPoints="1"/>
              </p:cNvSpPr>
              <p:nvPr userDrawn="1"/>
            </p:nvSpPr>
            <p:spPr bwMode="auto">
              <a:xfrm>
                <a:off x="920112" y="544826"/>
                <a:ext cx="14852" cy="169315"/>
              </a:xfrm>
              <a:custGeom>
                <a:avLst/>
                <a:gdLst>
                  <a:gd name="T0" fmla="*/ 14 w 61"/>
                  <a:gd name="T1" fmla="*/ 225 h 684"/>
                  <a:gd name="T2" fmla="*/ 48 w 61"/>
                  <a:gd name="T3" fmla="*/ 225 h 684"/>
                  <a:gd name="T4" fmla="*/ 48 w 61"/>
                  <a:gd name="T5" fmla="*/ 684 h 684"/>
                  <a:gd name="T6" fmla="*/ 14 w 61"/>
                  <a:gd name="T7" fmla="*/ 684 h 684"/>
                  <a:gd name="T8" fmla="*/ 14 w 61"/>
                  <a:gd name="T9" fmla="*/ 225 h 684"/>
                  <a:gd name="T10" fmla="*/ 30 w 61"/>
                  <a:gd name="T11" fmla="*/ 0 h 684"/>
                  <a:gd name="T12" fmla="*/ 42 w 61"/>
                  <a:gd name="T13" fmla="*/ 4 h 684"/>
                  <a:gd name="T14" fmla="*/ 52 w 61"/>
                  <a:gd name="T15" fmla="*/ 10 h 684"/>
                  <a:gd name="T16" fmla="*/ 59 w 61"/>
                  <a:gd name="T17" fmla="*/ 20 h 684"/>
                  <a:gd name="T18" fmla="*/ 61 w 61"/>
                  <a:gd name="T19" fmla="*/ 33 h 684"/>
                  <a:gd name="T20" fmla="*/ 59 w 61"/>
                  <a:gd name="T21" fmla="*/ 46 h 684"/>
                  <a:gd name="T22" fmla="*/ 52 w 61"/>
                  <a:gd name="T23" fmla="*/ 56 h 684"/>
                  <a:gd name="T24" fmla="*/ 42 w 61"/>
                  <a:gd name="T25" fmla="*/ 63 h 684"/>
                  <a:gd name="T26" fmla="*/ 30 w 61"/>
                  <a:gd name="T27" fmla="*/ 66 h 684"/>
                  <a:gd name="T28" fmla="*/ 19 w 61"/>
                  <a:gd name="T29" fmla="*/ 63 h 684"/>
                  <a:gd name="T30" fmla="*/ 9 w 61"/>
                  <a:gd name="T31" fmla="*/ 56 h 684"/>
                  <a:gd name="T32" fmla="*/ 2 w 61"/>
                  <a:gd name="T33" fmla="*/ 46 h 684"/>
                  <a:gd name="T34" fmla="*/ 0 w 61"/>
                  <a:gd name="T35" fmla="*/ 33 h 684"/>
                  <a:gd name="T36" fmla="*/ 2 w 61"/>
                  <a:gd name="T37" fmla="*/ 20 h 684"/>
                  <a:gd name="T38" fmla="*/ 9 w 61"/>
                  <a:gd name="T39" fmla="*/ 10 h 684"/>
                  <a:gd name="T40" fmla="*/ 19 w 61"/>
                  <a:gd name="T41" fmla="*/ 4 h 684"/>
                  <a:gd name="T42" fmla="*/ 30 w 61"/>
                  <a:gd name="T43" fmla="*/ 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684">
                    <a:moveTo>
                      <a:pt x="14" y="225"/>
                    </a:moveTo>
                    <a:lnTo>
                      <a:pt x="48" y="225"/>
                    </a:lnTo>
                    <a:lnTo>
                      <a:pt x="48" y="684"/>
                    </a:lnTo>
                    <a:lnTo>
                      <a:pt x="14" y="684"/>
                    </a:lnTo>
                    <a:lnTo>
                      <a:pt x="14" y="225"/>
                    </a:lnTo>
                    <a:close/>
                    <a:moveTo>
                      <a:pt x="30" y="0"/>
                    </a:moveTo>
                    <a:lnTo>
                      <a:pt x="42" y="4"/>
                    </a:lnTo>
                    <a:lnTo>
                      <a:pt x="52" y="10"/>
                    </a:lnTo>
                    <a:lnTo>
                      <a:pt x="59" y="20"/>
                    </a:lnTo>
                    <a:lnTo>
                      <a:pt x="61" y="33"/>
                    </a:lnTo>
                    <a:lnTo>
                      <a:pt x="59" y="46"/>
                    </a:lnTo>
                    <a:lnTo>
                      <a:pt x="52" y="56"/>
                    </a:lnTo>
                    <a:lnTo>
                      <a:pt x="42" y="63"/>
                    </a:lnTo>
                    <a:lnTo>
                      <a:pt x="30" y="66"/>
                    </a:lnTo>
                    <a:lnTo>
                      <a:pt x="19" y="63"/>
                    </a:lnTo>
                    <a:lnTo>
                      <a:pt x="9" y="56"/>
                    </a:lnTo>
                    <a:lnTo>
                      <a:pt x="2" y="46"/>
                    </a:lnTo>
                    <a:lnTo>
                      <a:pt x="0" y="33"/>
                    </a:lnTo>
                    <a:lnTo>
                      <a:pt x="2" y="20"/>
                    </a:lnTo>
                    <a:lnTo>
                      <a:pt x="9" y="10"/>
                    </a:lnTo>
                    <a:lnTo>
                      <a:pt x="19" y="4"/>
                    </a:lnTo>
                    <a:lnTo>
                      <a:pt x="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5"/>
              <p:cNvSpPr>
                <a:spLocks/>
              </p:cNvSpPr>
              <p:nvPr userDrawn="1"/>
            </p:nvSpPr>
            <p:spPr bwMode="auto">
              <a:xfrm>
                <a:off x="961203" y="600770"/>
                <a:ext cx="99015" cy="172780"/>
              </a:xfrm>
              <a:custGeom>
                <a:avLst/>
                <a:gdLst>
                  <a:gd name="T0" fmla="*/ 0 w 400"/>
                  <a:gd name="T1" fmla="*/ 0 h 699"/>
                  <a:gd name="T2" fmla="*/ 39 w 400"/>
                  <a:gd name="T3" fmla="*/ 0 h 699"/>
                  <a:gd name="T4" fmla="*/ 204 w 400"/>
                  <a:gd name="T5" fmla="*/ 429 h 699"/>
                  <a:gd name="T6" fmla="*/ 360 w 400"/>
                  <a:gd name="T7" fmla="*/ 0 h 699"/>
                  <a:gd name="T8" fmla="*/ 400 w 400"/>
                  <a:gd name="T9" fmla="*/ 0 h 699"/>
                  <a:gd name="T10" fmla="*/ 171 w 400"/>
                  <a:gd name="T11" fmla="*/ 601 h 699"/>
                  <a:gd name="T12" fmla="*/ 160 w 400"/>
                  <a:gd name="T13" fmla="*/ 626 h 699"/>
                  <a:gd name="T14" fmla="*/ 148 w 400"/>
                  <a:gd name="T15" fmla="*/ 647 h 699"/>
                  <a:gd name="T16" fmla="*/ 133 w 400"/>
                  <a:gd name="T17" fmla="*/ 665 h 699"/>
                  <a:gd name="T18" fmla="*/ 118 w 400"/>
                  <a:gd name="T19" fmla="*/ 680 h 699"/>
                  <a:gd name="T20" fmla="*/ 97 w 400"/>
                  <a:gd name="T21" fmla="*/ 690 h 699"/>
                  <a:gd name="T22" fmla="*/ 76 w 400"/>
                  <a:gd name="T23" fmla="*/ 697 h 699"/>
                  <a:gd name="T24" fmla="*/ 50 w 400"/>
                  <a:gd name="T25" fmla="*/ 699 h 699"/>
                  <a:gd name="T26" fmla="*/ 34 w 400"/>
                  <a:gd name="T27" fmla="*/ 698 h 699"/>
                  <a:gd name="T28" fmla="*/ 19 w 400"/>
                  <a:gd name="T29" fmla="*/ 697 h 699"/>
                  <a:gd name="T30" fmla="*/ 4 w 400"/>
                  <a:gd name="T31" fmla="*/ 693 h 699"/>
                  <a:gd name="T32" fmla="*/ 10 w 400"/>
                  <a:gd name="T33" fmla="*/ 661 h 699"/>
                  <a:gd name="T34" fmla="*/ 29 w 400"/>
                  <a:gd name="T35" fmla="*/ 665 h 699"/>
                  <a:gd name="T36" fmla="*/ 50 w 400"/>
                  <a:gd name="T37" fmla="*/ 667 h 699"/>
                  <a:gd name="T38" fmla="*/ 71 w 400"/>
                  <a:gd name="T39" fmla="*/ 665 h 699"/>
                  <a:gd name="T40" fmla="*/ 88 w 400"/>
                  <a:gd name="T41" fmla="*/ 658 h 699"/>
                  <a:gd name="T42" fmla="*/ 104 w 400"/>
                  <a:gd name="T43" fmla="*/ 647 h 699"/>
                  <a:gd name="T44" fmla="*/ 116 w 400"/>
                  <a:gd name="T45" fmla="*/ 634 h 699"/>
                  <a:gd name="T46" fmla="*/ 126 w 400"/>
                  <a:gd name="T47" fmla="*/ 618 h 699"/>
                  <a:gd name="T48" fmla="*/ 135 w 400"/>
                  <a:gd name="T49" fmla="*/ 600 h 699"/>
                  <a:gd name="T50" fmla="*/ 143 w 400"/>
                  <a:gd name="T51" fmla="*/ 581 h 699"/>
                  <a:gd name="T52" fmla="*/ 185 w 400"/>
                  <a:gd name="T53" fmla="*/ 468 h 699"/>
                  <a:gd name="T54" fmla="*/ 0 w 400"/>
                  <a:gd name="T55"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0" h="699">
                    <a:moveTo>
                      <a:pt x="0" y="0"/>
                    </a:moveTo>
                    <a:lnTo>
                      <a:pt x="39" y="0"/>
                    </a:lnTo>
                    <a:lnTo>
                      <a:pt x="204" y="429"/>
                    </a:lnTo>
                    <a:lnTo>
                      <a:pt x="360" y="0"/>
                    </a:lnTo>
                    <a:lnTo>
                      <a:pt x="400" y="0"/>
                    </a:lnTo>
                    <a:lnTo>
                      <a:pt x="171" y="601"/>
                    </a:lnTo>
                    <a:lnTo>
                      <a:pt x="160" y="626"/>
                    </a:lnTo>
                    <a:lnTo>
                      <a:pt x="148" y="647"/>
                    </a:lnTo>
                    <a:lnTo>
                      <a:pt x="133" y="665"/>
                    </a:lnTo>
                    <a:lnTo>
                      <a:pt x="118" y="680"/>
                    </a:lnTo>
                    <a:lnTo>
                      <a:pt x="97" y="690"/>
                    </a:lnTo>
                    <a:lnTo>
                      <a:pt x="76" y="697"/>
                    </a:lnTo>
                    <a:lnTo>
                      <a:pt x="50" y="699"/>
                    </a:lnTo>
                    <a:lnTo>
                      <a:pt x="34" y="698"/>
                    </a:lnTo>
                    <a:lnTo>
                      <a:pt x="19" y="697"/>
                    </a:lnTo>
                    <a:lnTo>
                      <a:pt x="4" y="693"/>
                    </a:lnTo>
                    <a:lnTo>
                      <a:pt x="10" y="661"/>
                    </a:lnTo>
                    <a:lnTo>
                      <a:pt x="29" y="665"/>
                    </a:lnTo>
                    <a:lnTo>
                      <a:pt x="50" y="667"/>
                    </a:lnTo>
                    <a:lnTo>
                      <a:pt x="71" y="665"/>
                    </a:lnTo>
                    <a:lnTo>
                      <a:pt x="88" y="658"/>
                    </a:lnTo>
                    <a:lnTo>
                      <a:pt x="104" y="647"/>
                    </a:lnTo>
                    <a:lnTo>
                      <a:pt x="116" y="634"/>
                    </a:lnTo>
                    <a:lnTo>
                      <a:pt x="126" y="618"/>
                    </a:lnTo>
                    <a:lnTo>
                      <a:pt x="135" y="600"/>
                    </a:lnTo>
                    <a:lnTo>
                      <a:pt x="143" y="581"/>
                    </a:lnTo>
                    <a:lnTo>
                      <a:pt x="185" y="46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6"/>
              <p:cNvSpPr>
                <a:spLocks noEditPoints="1"/>
              </p:cNvSpPr>
              <p:nvPr userDrawn="1"/>
            </p:nvSpPr>
            <p:spPr bwMode="auto">
              <a:xfrm>
                <a:off x="1073584" y="596809"/>
                <a:ext cx="91589" cy="120798"/>
              </a:xfrm>
              <a:custGeom>
                <a:avLst/>
                <a:gdLst>
                  <a:gd name="T0" fmla="*/ 248 w 370"/>
                  <a:gd name="T1" fmla="*/ 230 h 487"/>
                  <a:gd name="T2" fmla="*/ 197 w 370"/>
                  <a:gd name="T3" fmla="*/ 232 h 487"/>
                  <a:gd name="T4" fmla="*/ 149 w 370"/>
                  <a:gd name="T5" fmla="*/ 240 h 487"/>
                  <a:gd name="T6" fmla="*/ 105 w 370"/>
                  <a:gd name="T7" fmla="*/ 254 h 487"/>
                  <a:gd name="T8" fmla="*/ 69 w 370"/>
                  <a:gd name="T9" fmla="*/ 276 h 487"/>
                  <a:gd name="T10" fmla="*/ 44 w 370"/>
                  <a:gd name="T11" fmla="*/ 309 h 487"/>
                  <a:gd name="T12" fmla="*/ 35 w 370"/>
                  <a:gd name="T13" fmla="*/ 351 h 487"/>
                  <a:gd name="T14" fmla="*/ 45 w 370"/>
                  <a:gd name="T15" fmla="*/ 396 h 487"/>
                  <a:gd name="T16" fmla="*/ 69 w 370"/>
                  <a:gd name="T17" fmla="*/ 428 h 487"/>
                  <a:gd name="T18" fmla="*/ 104 w 370"/>
                  <a:gd name="T19" fmla="*/ 447 h 487"/>
                  <a:gd name="T20" fmla="*/ 142 w 370"/>
                  <a:gd name="T21" fmla="*/ 456 h 487"/>
                  <a:gd name="T22" fmla="*/ 191 w 370"/>
                  <a:gd name="T23" fmla="*/ 454 h 487"/>
                  <a:gd name="T24" fmla="*/ 243 w 370"/>
                  <a:gd name="T25" fmla="*/ 436 h 487"/>
                  <a:gd name="T26" fmla="*/ 281 w 370"/>
                  <a:gd name="T27" fmla="*/ 404 h 487"/>
                  <a:gd name="T28" fmla="*/ 307 w 370"/>
                  <a:gd name="T29" fmla="*/ 360 h 487"/>
                  <a:gd name="T30" fmla="*/ 323 w 370"/>
                  <a:gd name="T31" fmla="*/ 310 h 487"/>
                  <a:gd name="T32" fmla="*/ 327 w 370"/>
                  <a:gd name="T33" fmla="*/ 256 h 487"/>
                  <a:gd name="T34" fmla="*/ 271 w 370"/>
                  <a:gd name="T35" fmla="*/ 229 h 487"/>
                  <a:gd name="T36" fmla="*/ 219 w 370"/>
                  <a:gd name="T37" fmla="*/ 2 h 487"/>
                  <a:gd name="T38" fmla="*/ 272 w 370"/>
                  <a:gd name="T39" fmla="*/ 14 h 487"/>
                  <a:gd name="T40" fmla="*/ 314 w 370"/>
                  <a:gd name="T41" fmla="*/ 42 h 487"/>
                  <a:gd name="T42" fmla="*/ 344 w 370"/>
                  <a:gd name="T43" fmla="*/ 82 h 487"/>
                  <a:gd name="T44" fmla="*/ 360 w 370"/>
                  <a:gd name="T45" fmla="*/ 136 h 487"/>
                  <a:gd name="T46" fmla="*/ 362 w 370"/>
                  <a:gd name="T47" fmla="*/ 371 h 487"/>
                  <a:gd name="T48" fmla="*/ 364 w 370"/>
                  <a:gd name="T49" fmla="*/ 426 h 487"/>
                  <a:gd name="T50" fmla="*/ 370 w 370"/>
                  <a:gd name="T51" fmla="*/ 473 h 487"/>
                  <a:gd name="T52" fmla="*/ 334 w 370"/>
                  <a:gd name="T53" fmla="*/ 456 h 487"/>
                  <a:gd name="T54" fmla="*/ 331 w 370"/>
                  <a:gd name="T55" fmla="*/ 413 h 487"/>
                  <a:gd name="T56" fmla="*/ 330 w 370"/>
                  <a:gd name="T57" fmla="*/ 375 h 487"/>
                  <a:gd name="T58" fmla="*/ 313 w 370"/>
                  <a:gd name="T59" fmla="*/ 402 h 487"/>
                  <a:gd name="T60" fmla="*/ 278 w 370"/>
                  <a:gd name="T61" fmla="*/ 444 h 487"/>
                  <a:gd name="T62" fmla="*/ 233 w 370"/>
                  <a:gd name="T63" fmla="*/ 472 h 487"/>
                  <a:gd name="T64" fmla="*/ 181 w 370"/>
                  <a:gd name="T65" fmla="*/ 484 h 487"/>
                  <a:gd name="T66" fmla="*/ 133 w 370"/>
                  <a:gd name="T67" fmla="*/ 485 h 487"/>
                  <a:gd name="T68" fmla="*/ 89 w 370"/>
                  <a:gd name="T69" fmla="*/ 475 h 487"/>
                  <a:gd name="T70" fmla="*/ 50 w 370"/>
                  <a:gd name="T71" fmla="*/ 455 h 487"/>
                  <a:gd name="T72" fmla="*/ 19 w 370"/>
                  <a:gd name="T73" fmla="*/ 422 h 487"/>
                  <a:gd name="T74" fmla="*/ 3 w 370"/>
                  <a:gd name="T75" fmla="*/ 378 h 487"/>
                  <a:gd name="T76" fmla="*/ 3 w 370"/>
                  <a:gd name="T77" fmla="*/ 325 h 487"/>
                  <a:gd name="T78" fmla="*/ 18 w 370"/>
                  <a:gd name="T79" fmla="*/ 281 h 487"/>
                  <a:gd name="T80" fmla="*/ 49 w 370"/>
                  <a:gd name="T81" fmla="*/ 249 h 487"/>
                  <a:gd name="T82" fmla="*/ 88 w 370"/>
                  <a:gd name="T83" fmla="*/ 226 h 487"/>
                  <a:gd name="T84" fmla="*/ 135 w 370"/>
                  <a:gd name="T85" fmla="*/ 212 h 487"/>
                  <a:gd name="T86" fmla="*/ 186 w 370"/>
                  <a:gd name="T87" fmla="*/ 204 h 487"/>
                  <a:gd name="T88" fmla="*/ 236 w 370"/>
                  <a:gd name="T89" fmla="*/ 200 h 487"/>
                  <a:gd name="T90" fmla="*/ 327 w 370"/>
                  <a:gd name="T91" fmla="*/ 200 h 487"/>
                  <a:gd name="T92" fmla="*/ 325 w 370"/>
                  <a:gd name="T93" fmla="*/ 141 h 487"/>
                  <a:gd name="T94" fmla="*/ 309 w 370"/>
                  <a:gd name="T95" fmla="*/ 92 h 487"/>
                  <a:gd name="T96" fmla="*/ 280 w 370"/>
                  <a:gd name="T97" fmla="*/ 57 h 487"/>
                  <a:gd name="T98" fmla="*/ 240 w 370"/>
                  <a:gd name="T99" fmla="*/ 38 h 487"/>
                  <a:gd name="T100" fmla="*/ 187 w 370"/>
                  <a:gd name="T101" fmla="*/ 31 h 487"/>
                  <a:gd name="T102" fmla="*/ 125 w 370"/>
                  <a:gd name="T103" fmla="*/ 42 h 487"/>
                  <a:gd name="T104" fmla="*/ 71 w 370"/>
                  <a:gd name="T105" fmla="*/ 67 h 487"/>
                  <a:gd name="T106" fmla="*/ 28 w 370"/>
                  <a:gd name="T107" fmla="*/ 60 h 487"/>
                  <a:gd name="T108" fmla="*/ 86 w 370"/>
                  <a:gd name="T109" fmla="*/ 23 h 487"/>
                  <a:gd name="T110" fmla="*/ 153 w 370"/>
                  <a:gd name="T111" fmla="*/ 3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487">
                    <a:moveTo>
                      <a:pt x="271" y="229"/>
                    </a:moveTo>
                    <a:lnTo>
                      <a:pt x="248" y="230"/>
                    </a:lnTo>
                    <a:lnTo>
                      <a:pt x="223" y="231"/>
                    </a:lnTo>
                    <a:lnTo>
                      <a:pt x="197" y="232"/>
                    </a:lnTo>
                    <a:lnTo>
                      <a:pt x="172" y="235"/>
                    </a:lnTo>
                    <a:lnTo>
                      <a:pt x="149" y="240"/>
                    </a:lnTo>
                    <a:lnTo>
                      <a:pt x="126" y="247"/>
                    </a:lnTo>
                    <a:lnTo>
                      <a:pt x="105" y="254"/>
                    </a:lnTo>
                    <a:lnTo>
                      <a:pt x="86" y="263"/>
                    </a:lnTo>
                    <a:lnTo>
                      <a:pt x="69" y="276"/>
                    </a:lnTo>
                    <a:lnTo>
                      <a:pt x="54" y="291"/>
                    </a:lnTo>
                    <a:lnTo>
                      <a:pt x="44" y="309"/>
                    </a:lnTo>
                    <a:lnTo>
                      <a:pt x="37" y="328"/>
                    </a:lnTo>
                    <a:lnTo>
                      <a:pt x="35" y="351"/>
                    </a:lnTo>
                    <a:lnTo>
                      <a:pt x="39" y="375"/>
                    </a:lnTo>
                    <a:lnTo>
                      <a:pt x="45" y="396"/>
                    </a:lnTo>
                    <a:lnTo>
                      <a:pt x="55" y="413"/>
                    </a:lnTo>
                    <a:lnTo>
                      <a:pt x="69" y="428"/>
                    </a:lnTo>
                    <a:lnTo>
                      <a:pt x="86" y="438"/>
                    </a:lnTo>
                    <a:lnTo>
                      <a:pt x="104" y="447"/>
                    </a:lnTo>
                    <a:lnTo>
                      <a:pt x="123" y="453"/>
                    </a:lnTo>
                    <a:lnTo>
                      <a:pt x="142" y="456"/>
                    </a:lnTo>
                    <a:lnTo>
                      <a:pt x="161" y="456"/>
                    </a:lnTo>
                    <a:lnTo>
                      <a:pt x="191" y="454"/>
                    </a:lnTo>
                    <a:lnTo>
                      <a:pt x="219" y="447"/>
                    </a:lnTo>
                    <a:lnTo>
                      <a:pt x="243" y="436"/>
                    </a:lnTo>
                    <a:lnTo>
                      <a:pt x="264" y="421"/>
                    </a:lnTo>
                    <a:lnTo>
                      <a:pt x="281" y="404"/>
                    </a:lnTo>
                    <a:lnTo>
                      <a:pt x="296" y="383"/>
                    </a:lnTo>
                    <a:lnTo>
                      <a:pt x="307" y="360"/>
                    </a:lnTo>
                    <a:lnTo>
                      <a:pt x="316" y="336"/>
                    </a:lnTo>
                    <a:lnTo>
                      <a:pt x="323" y="310"/>
                    </a:lnTo>
                    <a:lnTo>
                      <a:pt x="326" y="283"/>
                    </a:lnTo>
                    <a:lnTo>
                      <a:pt x="327" y="256"/>
                    </a:lnTo>
                    <a:lnTo>
                      <a:pt x="327" y="229"/>
                    </a:lnTo>
                    <a:lnTo>
                      <a:pt x="271" y="229"/>
                    </a:lnTo>
                    <a:close/>
                    <a:moveTo>
                      <a:pt x="189" y="0"/>
                    </a:moveTo>
                    <a:lnTo>
                      <a:pt x="219" y="2"/>
                    </a:lnTo>
                    <a:lnTo>
                      <a:pt x="246" y="7"/>
                    </a:lnTo>
                    <a:lnTo>
                      <a:pt x="272" y="14"/>
                    </a:lnTo>
                    <a:lnTo>
                      <a:pt x="295" y="27"/>
                    </a:lnTo>
                    <a:lnTo>
                      <a:pt x="314" y="42"/>
                    </a:lnTo>
                    <a:lnTo>
                      <a:pt x="331" y="60"/>
                    </a:lnTo>
                    <a:lnTo>
                      <a:pt x="344" y="82"/>
                    </a:lnTo>
                    <a:lnTo>
                      <a:pt x="353" y="107"/>
                    </a:lnTo>
                    <a:lnTo>
                      <a:pt x="360" y="136"/>
                    </a:lnTo>
                    <a:lnTo>
                      <a:pt x="362" y="169"/>
                    </a:lnTo>
                    <a:lnTo>
                      <a:pt x="362" y="371"/>
                    </a:lnTo>
                    <a:lnTo>
                      <a:pt x="362" y="398"/>
                    </a:lnTo>
                    <a:lnTo>
                      <a:pt x="364" y="426"/>
                    </a:lnTo>
                    <a:lnTo>
                      <a:pt x="367" y="452"/>
                    </a:lnTo>
                    <a:lnTo>
                      <a:pt x="370" y="473"/>
                    </a:lnTo>
                    <a:lnTo>
                      <a:pt x="336" y="473"/>
                    </a:lnTo>
                    <a:lnTo>
                      <a:pt x="334" y="456"/>
                    </a:lnTo>
                    <a:lnTo>
                      <a:pt x="332" y="436"/>
                    </a:lnTo>
                    <a:lnTo>
                      <a:pt x="331" y="413"/>
                    </a:lnTo>
                    <a:lnTo>
                      <a:pt x="330" y="393"/>
                    </a:lnTo>
                    <a:lnTo>
                      <a:pt x="330" y="375"/>
                    </a:lnTo>
                    <a:lnTo>
                      <a:pt x="326" y="375"/>
                    </a:lnTo>
                    <a:lnTo>
                      <a:pt x="313" y="402"/>
                    </a:lnTo>
                    <a:lnTo>
                      <a:pt x="297" y="425"/>
                    </a:lnTo>
                    <a:lnTo>
                      <a:pt x="278" y="444"/>
                    </a:lnTo>
                    <a:lnTo>
                      <a:pt x="257" y="460"/>
                    </a:lnTo>
                    <a:lnTo>
                      <a:pt x="233" y="472"/>
                    </a:lnTo>
                    <a:lnTo>
                      <a:pt x="208" y="480"/>
                    </a:lnTo>
                    <a:lnTo>
                      <a:pt x="181" y="484"/>
                    </a:lnTo>
                    <a:lnTo>
                      <a:pt x="154" y="487"/>
                    </a:lnTo>
                    <a:lnTo>
                      <a:pt x="133" y="485"/>
                    </a:lnTo>
                    <a:lnTo>
                      <a:pt x="110" y="482"/>
                    </a:lnTo>
                    <a:lnTo>
                      <a:pt x="89" y="475"/>
                    </a:lnTo>
                    <a:lnTo>
                      <a:pt x="69" y="466"/>
                    </a:lnTo>
                    <a:lnTo>
                      <a:pt x="50" y="455"/>
                    </a:lnTo>
                    <a:lnTo>
                      <a:pt x="33" y="440"/>
                    </a:lnTo>
                    <a:lnTo>
                      <a:pt x="19" y="422"/>
                    </a:lnTo>
                    <a:lnTo>
                      <a:pt x="9" y="402"/>
                    </a:lnTo>
                    <a:lnTo>
                      <a:pt x="3" y="378"/>
                    </a:lnTo>
                    <a:lnTo>
                      <a:pt x="0" y="352"/>
                    </a:lnTo>
                    <a:lnTo>
                      <a:pt x="3" y="325"/>
                    </a:lnTo>
                    <a:lnTo>
                      <a:pt x="8" y="302"/>
                    </a:lnTo>
                    <a:lnTo>
                      <a:pt x="18" y="281"/>
                    </a:lnTo>
                    <a:lnTo>
                      <a:pt x="32" y="265"/>
                    </a:lnTo>
                    <a:lnTo>
                      <a:pt x="49" y="249"/>
                    </a:lnTo>
                    <a:lnTo>
                      <a:pt x="67" y="236"/>
                    </a:lnTo>
                    <a:lnTo>
                      <a:pt x="88" y="226"/>
                    </a:lnTo>
                    <a:lnTo>
                      <a:pt x="110" y="218"/>
                    </a:lnTo>
                    <a:lnTo>
                      <a:pt x="135" y="212"/>
                    </a:lnTo>
                    <a:lnTo>
                      <a:pt x="160" y="207"/>
                    </a:lnTo>
                    <a:lnTo>
                      <a:pt x="186" y="204"/>
                    </a:lnTo>
                    <a:lnTo>
                      <a:pt x="212" y="202"/>
                    </a:lnTo>
                    <a:lnTo>
                      <a:pt x="236" y="200"/>
                    </a:lnTo>
                    <a:lnTo>
                      <a:pt x="262" y="200"/>
                    </a:lnTo>
                    <a:lnTo>
                      <a:pt x="327" y="200"/>
                    </a:lnTo>
                    <a:lnTo>
                      <a:pt x="327" y="170"/>
                    </a:lnTo>
                    <a:lnTo>
                      <a:pt x="325" y="141"/>
                    </a:lnTo>
                    <a:lnTo>
                      <a:pt x="319" y="115"/>
                    </a:lnTo>
                    <a:lnTo>
                      <a:pt x="309" y="92"/>
                    </a:lnTo>
                    <a:lnTo>
                      <a:pt x="297" y="73"/>
                    </a:lnTo>
                    <a:lnTo>
                      <a:pt x="280" y="57"/>
                    </a:lnTo>
                    <a:lnTo>
                      <a:pt x="261" y="46"/>
                    </a:lnTo>
                    <a:lnTo>
                      <a:pt x="240" y="38"/>
                    </a:lnTo>
                    <a:lnTo>
                      <a:pt x="215" y="33"/>
                    </a:lnTo>
                    <a:lnTo>
                      <a:pt x="187" y="31"/>
                    </a:lnTo>
                    <a:lnTo>
                      <a:pt x="155" y="34"/>
                    </a:lnTo>
                    <a:lnTo>
                      <a:pt x="125" y="42"/>
                    </a:lnTo>
                    <a:lnTo>
                      <a:pt x="97" y="53"/>
                    </a:lnTo>
                    <a:lnTo>
                      <a:pt x="71" y="67"/>
                    </a:lnTo>
                    <a:lnTo>
                      <a:pt x="49" y="85"/>
                    </a:lnTo>
                    <a:lnTo>
                      <a:pt x="28" y="60"/>
                    </a:lnTo>
                    <a:lnTo>
                      <a:pt x="55" y="39"/>
                    </a:lnTo>
                    <a:lnTo>
                      <a:pt x="86" y="23"/>
                    </a:lnTo>
                    <a:lnTo>
                      <a:pt x="118" y="11"/>
                    </a:lnTo>
                    <a:lnTo>
                      <a:pt x="153" y="3"/>
                    </a:lnTo>
                    <a:lnTo>
                      <a:pt x="18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7"/>
              <p:cNvSpPr>
                <a:spLocks noEditPoints="1"/>
              </p:cNvSpPr>
              <p:nvPr userDrawn="1"/>
            </p:nvSpPr>
            <p:spPr bwMode="auto">
              <a:xfrm>
                <a:off x="1163688" y="596809"/>
                <a:ext cx="29209" cy="14852"/>
              </a:xfrm>
              <a:custGeom>
                <a:avLst/>
                <a:gdLst>
                  <a:gd name="T0" fmla="*/ 58 w 118"/>
                  <a:gd name="T1" fmla="*/ 0 h 61"/>
                  <a:gd name="T2" fmla="*/ 66 w 118"/>
                  <a:gd name="T3" fmla="*/ 0 h 61"/>
                  <a:gd name="T4" fmla="*/ 88 w 118"/>
                  <a:gd name="T5" fmla="*/ 53 h 61"/>
                  <a:gd name="T6" fmla="*/ 110 w 118"/>
                  <a:gd name="T7" fmla="*/ 0 h 61"/>
                  <a:gd name="T8" fmla="*/ 118 w 118"/>
                  <a:gd name="T9" fmla="*/ 0 h 61"/>
                  <a:gd name="T10" fmla="*/ 118 w 118"/>
                  <a:gd name="T11" fmla="*/ 61 h 61"/>
                  <a:gd name="T12" fmla="*/ 113 w 118"/>
                  <a:gd name="T13" fmla="*/ 61 h 61"/>
                  <a:gd name="T14" fmla="*/ 113 w 118"/>
                  <a:gd name="T15" fmla="*/ 5 h 61"/>
                  <a:gd name="T16" fmla="*/ 113 w 118"/>
                  <a:gd name="T17" fmla="*/ 5 h 61"/>
                  <a:gd name="T18" fmla="*/ 89 w 118"/>
                  <a:gd name="T19" fmla="*/ 61 h 61"/>
                  <a:gd name="T20" fmla="*/ 86 w 118"/>
                  <a:gd name="T21" fmla="*/ 61 h 61"/>
                  <a:gd name="T22" fmla="*/ 64 w 118"/>
                  <a:gd name="T23" fmla="*/ 5 h 61"/>
                  <a:gd name="T24" fmla="*/ 64 w 118"/>
                  <a:gd name="T25" fmla="*/ 5 h 61"/>
                  <a:gd name="T26" fmla="*/ 64 w 118"/>
                  <a:gd name="T27" fmla="*/ 61 h 61"/>
                  <a:gd name="T28" fmla="*/ 58 w 118"/>
                  <a:gd name="T29" fmla="*/ 61 h 61"/>
                  <a:gd name="T30" fmla="*/ 58 w 118"/>
                  <a:gd name="T31" fmla="*/ 0 h 61"/>
                  <a:gd name="T32" fmla="*/ 0 w 118"/>
                  <a:gd name="T33" fmla="*/ 0 h 61"/>
                  <a:gd name="T34" fmla="*/ 44 w 118"/>
                  <a:gd name="T35" fmla="*/ 0 h 61"/>
                  <a:gd name="T36" fmla="*/ 44 w 118"/>
                  <a:gd name="T37" fmla="*/ 4 h 61"/>
                  <a:gd name="T38" fmla="*/ 24 w 118"/>
                  <a:gd name="T39" fmla="*/ 4 h 61"/>
                  <a:gd name="T40" fmla="*/ 24 w 118"/>
                  <a:gd name="T41" fmla="*/ 61 h 61"/>
                  <a:gd name="T42" fmla="*/ 20 w 118"/>
                  <a:gd name="T43" fmla="*/ 61 h 61"/>
                  <a:gd name="T44" fmla="*/ 20 w 118"/>
                  <a:gd name="T45" fmla="*/ 4 h 61"/>
                  <a:gd name="T46" fmla="*/ 0 w 118"/>
                  <a:gd name="T47" fmla="*/ 4 h 61"/>
                  <a:gd name="T48" fmla="*/ 0 w 118"/>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61">
                    <a:moveTo>
                      <a:pt x="58" y="0"/>
                    </a:moveTo>
                    <a:lnTo>
                      <a:pt x="66" y="0"/>
                    </a:lnTo>
                    <a:lnTo>
                      <a:pt x="88" y="53"/>
                    </a:lnTo>
                    <a:lnTo>
                      <a:pt x="110" y="0"/>
                    </a:lnTo>
                    <a:lnTo>
                      <a:pt x="118" y="0"/>
                    </a:lnTo>
                    <a:lnTo>
                      <a:pt x="118" y="61"/>
                    </a:lnTo>
                    <a:lnTo>
                      <a:pt x="113" y="61"/>
                    </a:lnTo>
                    <a:lnTo>
                      <a:pt x="113" y="5"/>
                    </a:lnTo>
                    <a:lnTo>
                      <a:pt x="113" y="5"/>
                    </a:lnTo>
                    <a:lnTo>
                      <a:pt x="89" y="61"/>
                    </a:lnTo>
                    <a:lnTo>
                      <a:pt x="86" y="61"/>
                    </a:lnTo>
                    <a:lnTo>
                      <a:pt x="64" y="5"/>
                    </a:lnTo>
                    <a:lnTo>
                      <a:pt x="64" y="5"/>
                    </a:lnTo>
                    <a:lnTo>
                      <a:pt x="64" y="61"/>
                    </a:lnTo>
                    <a:lnTo>
                      <a:pt x="58" y="61"/>
                    </a:lnTo>
                    <a:lnTo>
                      <a:pt x="58" y="0"/>
                    </a:lnTo>
                    <a:close/>
                    <a:moveTo>
                      <a:pt x="0" y="0"/>
                    </a:moveTo>
                    <a:lnTo>
                      <a:pt x="44" y="0"/>
                    </a:lnTo>
                    <a:lnTo>
                      <a:pt x="44" y="4"/>
                    </a:lnTo>
                    <a:lnTo>
                      <a:pt x="24" y="4"/>
                    </a:lnTo>
                    <a:lnTo>
                      <a:pt x="24" y="61"/>
                    </a:lnTo>
                    <a:lnTo>
                      <a:pt x="20" y="61"/>
                    </a:lnTo>
                    <a:lnTo>
                      <a:pt x="20" y="4"/>
                    </a:lnTo>
                    <a:lnTo>
                      <a:pt x="0" y="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514647" y="137381"/>
              <a:ext cx="442595" cy="290113"/>
              <a:chOff x="3857626" y="1555751"/>
              <a:chExt cx="1419225" cy="930275"/>
            </a:xfrm>
            <a:solidFill>
              <a:schemeClr val="bg1"/>
            </a:solidFill>
          </p:grpSpPr>
          <p:sp>
            <p:nvSpPr>
              <p:cNvPr id="18" name="Freeform 28"/>
              <p:cNvSpPr>
                <a:spLocks/>
              </p:cNvSpPr>
              <p:nvPr userDrawn="1"/>
            </p:nvSpPr>
            <p:spPr bwMode="auto">
              <a:xfrm>
                <a:off x="3857626" y="1555751"/>
                <a:ext cx="1416050" cy="930275"/>
              </a:xfrm>
              <a:custGeom>
                <a:avLst/>
                <a:gdLst>
                  <a:gd name="T0" fmla="*/ 902 w 1784"/>
                  <a:gd name="T1" fmla="*/ 27 h 1172"/>
                  <a:gd name="T2" fmla="*/ 1076 w 1784"/>
                  <a:gd name="T3" fmla="*/ 141 h 1172"/>
                  <a:gd name="T4" fmla="*/ 1087 w 1784"/>
                  <a:gd name="T5" fmla="*/ 187 h 1172"/>
                  <a:gd name="T6" fmla="*/ 1044 w 1784"/>
                  <a:gd name="T7" fmla="*/ 218 h 1172"/>
                  <a:gd name="T8" fmla="*/ 1009 w 1784"/>
                  <a:gd name="T9" fmla="*/ 202 h 1172"/>
                  <a:gd name="T10" fmla="*/ 889 w 1784"/>
                  <a:gd name="T11" fmla="*/ 120 h 1172"/>
                  <a:gd name="T12" fmla="*/ 695 w 1784"/>
                  <a:gd name="T13" fmla="*/ 94 h 1172"/>
                  <a:gd name="T14" fmla="*/ 520 w 1784"/>
                  <a:gd name="T15" fmla="*/ 168 h 1172"/>
                  <a:gd name="T16" fmla="*/ 406 w 1784"/>
                  <a:gd name="T17" fmla="*/ 317 h 1172"/>
                  <a:gd name="T18" fmla="*/ 378 w 1784"/>
                  <a:gd name="T19" fmla="*/ 491 h 1172"/>
                  <a:gd name="T20" fmla="*/ 298 w 1784"/>
                  <a:gd name="T21" fmla="*/ 580 h 1172"/>
                  <a:gd name="T22" fmla="*/ 163 w 1784"/>
                  <a:gd name="T23" fmla="*/ 651 h 1172"/>
                  <a:gd name="T24" fmla="*/ 93 w 1784"/>
                  <a:gd name="T25" fmla="*/ 788 h 1172"/>
                  <a:gd name="T26" fmla="*/ 118 w 1784"/>
                  <a:gd name="T27" fmla="*/ 944 h 1172"/>
                  <a:gd name="T28" fmla="*/ 227 w 1784"/>
                  <a:gd name="T29" fmla="*/ 1052 h 1172"/>
                  <a:gd name="T30" fmla="*/ 356 w 1784"/>
                  <a:gd name="T31" fmla="*/ 1081 h 1172"/>
                  <a:gd name="T32" fmla="*/ 1482 w 1784"/>
                  <a:gd name="T33" fmla="*/ 1077 h 1172"/>
                  <a:gd name="T34" fmla="*/ 1619 w 1784"/>
                  <a:gd name="T35" fmla="*/ 1006 h 1172"/>
                  <a:gd name="T36" fmla="*/ 1690 w 1784"/>
                  <a:gd name="T37" fmla="*/ 869 h 1172"/>
                  <a:gd name="T38" fmla="*/ 1670 w 1784"/>
                  <a:gd name="T39" fmla="*/ 720 h 1172"/>
                  <a:gd name="T40" fmla="*/ 1575 w 1784"/>
                  <a:gd name="T41" fmla="*/ 614 h 1172"/>
                  <a:gd name="T42" fmla="*/ 1421 w 1784"/>
                  <a:gd name="T43" fmla="*/ 571 h 1172"/>
                  <a:gd name="T44" fmla="*/ 1434 w 1784"/>
                  <a:gd name="T45" fmla="*/ 458 h 1172"/>
                  <a:gd name="T46" fmla="*/ 1393 w 1784"/>
                  <a:gd name="T47" fmla="*/ 380 h 1172"/>
                  <a:gd name="T48" fmla="*/ 1339 w 1784"/>
                  <a:gd name="T49" fmla="*/ 345 h 1172"/>
                  <a:gd name="T50" fmla="*/ 1256 w 1784"/>
                  <a:gd name="T51" fmla="*/ 336 h 1172"/>
                  <a:gd name="T52" fmla="*/ 1182 w 1784"/>
                  <a:gd name="T53" fmla="*/ 370 h 1172"/>
                  <a:gd name="T54" fmla="*/ 1154 w 1784"/>
                  <a:gd name="T55" fmla="*/ 402 h 1172"/>
                  <a:gd name="T56" fmla="*/ 1144 w 1784"/>
                  <a:gd name="T57" fmla="*/ 420 h 1172"/>
                  <a:gd name="T58" fmla="*/ 900 w 1784"/>
                  <a:gd name="T59" fmla="*/ 953 h 1172"/>
                  <a:gd name="T60" fmla="*/ 857 w 1784"/>
                  <a:gd name="T61" fmla="*/ 957 h 1172"/>
                  <a:gd name="T62" fmla="*/ 640 w 1784"/>
                  <a:gd name="T63" fmla="*/ 494 h 1172"/>
                  <a:gd name="T64" fmla="*/ 652 w 1784"/>
                  <a:gd name="T65" fmla="*/ 442 h 1172"/>
                  <a:gd name="T66" fmla="*/ 704 w 1784"/>
                  <a:gd name="T67" fmla="*/ 436 h 1172"/>
                  <a:gd name="T68" fmla="*/ 1057 w 1784"/>
                  <a:gd name="T69" fmla="*/ 389 h 1172"/>
                  <a:gd name="T70" fmla="*/ 1122 w 1784"/>
                  <a:gd name="T71" fmla="*/ 303 h 1172"/>
                  <a:gd name="T72" fmla="*/ 1253 w 1784"/>
                  <a:gd name="T73" fmla="*/ 246 h 1172"/>
                  <a:gd name="T74" fmla="*/ 1262 w 1784"/>
                  <a:gd name="T75" fmla="*/ 245 h 1172"/>
                  <a:gd name="T76" fmla="*/ 1282 w 1784"/>
                  <a:gd name="T77" fmla="*/ 243 h 1172"/>
                  <a:gd name="T78" fmla="*/ 1342 w 1784"/>
                  <a:gd name="T79" fmla="*/ 250 h 1172"/>
                  <a:gd name="T80" fmla="*/ 1452 w 1784"/>
                  <a:gd name="T81" fmla="*/ 311 h 1172"/>
                  <a:gd name="T82" fmla="*/ 1496 w 1784"/>
                  <a:gd name="T83" fmla="*/ 367 h 1172"/>
                  <a:gd name="T84" fmla="*/ 1527 w 1784"/>
                  <a:gd name="T85" fmla="*/ 487 h 1172"/>
                  <a:gd name="T86" fmla="*/ 1648 w 1784"/>
                  <a:gd name="T87" fmla="*/ 554 h 1172"/>
                  <a:gd name="T88" fmla="*/ 1756 w 1784"/>
                  <a:gd name="T89" fmla="*/ 694 h 1172"/>
                  <a:gd name="T90" fmla="*/ 1781 w 1784"/>
                  <a:gd name="T91" fmla="*/ 874 h 1172"/>
                  <a:gd name="T92" fmla="*/ 1712 w 1784"/>
                  <a:gd name="T93" fmla="*/ 1038 h 1172"/>
                  <a:gd name="T94" fmla="*/ 1574 w 1784"/>
                  <a:gd name="T95" fmla="*/ 1145 h 1172"/>
                  <a:gd name="T96" fmla="*/ 1424 w 1784"/>
                  <a:gd name="T97" fmla="*/ 1172 h 1172"/>
                  <a:gd name="T98" fmla="*/ 252 w 1784"/>
                  <a:gd name="T99" fmla="*/ 1159 h 1172"/>
                  <a:gd name="T100" fmla="*/ 100 w 1784"/>
                  <a:gd name="T101" fmla="*/ 1072 h 1172"/>
                  <a:gd name="T102" fmla="*/ 12 w 1784"/>
                  <a:gd name="T103" fmla="*/ 919 h 1172"/>
                  <a:gd name="T104" fmla="*/ 11 w 1784"/>
                  <a:gd name="T105" fmla="*/ 739 h 1172"/>
                  <a:gd name="T106" fmla="*/ 97 w 1784"/>
                  <a:gd name="T107" fmla="*/ 589 h 1172"/>
                  <a:gd name="T108" fmla="*/ 243 w 1784"/>
                  <a:gd name="T109" fmla="*/ 499 h 1172"/>
                  <a:gd name="T110" fmla="*/ 298 w 1784"/>
                  <a:gd name="T111" fmla="*/ 355 h 1172"/>
                  <a:gd name="T112" fmla="*/ 386 w 1784"/>
                  <a:gd name="T113" fmla="*/ 173 h 1172"/>
                  <a:gd name="T114" fmla="*/ 544 w 1784"/>
                  <a:gd name="T115" fmla="*/ 46 h 1172"/>
                  <a:gd name="T116" fmla="*/ 746 w 1784"/>
                  <a:gd name="T117"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84" h="1172">
                    <a:moveTo>
                      <a:pt x="746" y="0"/>
                    </a:moveTo>
                    <a:lnTo>
                      <a:pt x="800" y="2"/>
                    </a:lnTo>
                    <a:lnTo>
                      <a:pt x="852" y="13"/>
                    </a:lnTo>
                    <a:lnTo>
                      <a:pt x="902" y="27"/>
                    </a:lnTo>
                    <a:lnTo>
                      <a:pt x="951" y="49"/>
                    </a:lnTo>
                    <a:lnTo>
                      <a:pt x="997" y="74"/>
                    </a:lnTo>
                    <a:lnTo>
                      <a:pt x="1038" y="105"/>
                    </a:lnTo>
                    <a:lnTo>
                      <a:pt x="1076" y="141"/>
                    </a:lnTo>
                    <a:lnTo>
                      <a:pt x="1080" y="144"/>
                    </a:lnTo>
                    <a:lnTo>
                      <a:pt x="1087" y="158"/>
                    </a:lnTo>
                    <a:lnTo>
                      <a:pt x="1089" y="173"/>
                    </a:lnTo>
                    <a:lnTo>
                      <a:pt x="1087" y="187"/>
                    </a:lnTo>
                    <a:lnTo>
                      <a:pt x="1081" y="200"/>
                    </a:lnTo>
                    <a:lnTo>
                      <a:pt x="1071" y="209"/>
                    </a:lnTo>
                    <a:lnTo>
                      <a:pt x="1058" y="215"/>
                    </a:lnTo>
                    <a:lnTo>
                      <a:pt x="1044" y="218"/>
                    </a:lnTo>
                    <a:lnTo>
                      <a:pt x="1033" y="216"/>
                    </a:lnTo>
                    <a:lnTo>
                      <a:pt x="1021" y="212"/>
                    </a:lnTo>
                    <a:lnTo>
                      <a:pt x="1012" y="204"/>
                    </a:lnTo>
                    <a:lnTo>
                      <a:pt x="1009" y="202"/>
                    </a:lnTo>
                    <a:lnTo>
                      <a:pt x="1007" y="200"/>
                    </a:lnTo>
                    <a:lnTo>
                      <a:pt x="971" y="168"/>
                    </a:lnTo>
                    <a:lnTo>
                      <a:pt x="931" y="141"/>
                    </a:lnTo>
                    <a:lnTo>
                      <a:pt x="889" y="120"/>
                    </a:lnTo>
                    <a:lnTo>
                      <a:pt x="843" y="104"/>
                    </a:lnTo>
                    <a:lnTo>
                      <a:pt x="796" y="94"/>
                    </a:lnTo>
                    <a:lnTo>
                      <a:pt x="746" y="90"/>
                    </a:lnTo>
                    <a:lnTo>
                      <a:pt x="695" y="94"/>
                    </a:lnTo>
                    <a:lnTo>
                      <a:pt x="647" y="104"/>
                    </a:lnTo>
                    <a:lnTo>
                      <a:pt x="602" y="120"/>
                    </a:lnTo>
                    <a:lnTo>
                      <a:pt x="560" y="141"/>
                    </a:lnTo>
                    <a:lnTo>
                      <a:pt x="520" y="168"/>
                    </a:lnTo>
                    <a:lnTo>
                      <a:pt x="484" y="200"/>
                    </a:lnTo>
                    <a:lnTo>
                      <a:pt x="453" y="234"/>
                    </a:lnTo>
                    <a:lnTo>
                      <a:pt x="427" y="274"/>
                    </a:lnTo>
                    <a:lnTo>
                      <a:pt x="406" y="317"/>
                    </a:lnTo>
                    <a:lnTo>
                      <a:pt x="390" y="363"/>
                    </a:lnTo>
                    <a:lnTo>
                      <a:pt x="380" y="410"/>
                    </a:lnTo>
                    <a:lnTo>
                      <a:pt x="376" y="461"/>
                    </a:lnTo>
                    <a:lnTo>
                      <a:pt x="378" y="491"/>
                    </a:lnTo>
                    <a:lnTo>
                      <a:pt x="381" y="523"/>
                    </a:lnTo>
                    <a:lnTo>
                      <a:pt x="390" y="575"/>
                    </a:lnTo>
                    <a:lnTo>
                      <a:pt x="337" y="576"/>
                    </a:lnTo>
                    <a:lnTo>
                      <a:pt x="298" y="580"/>
                    </a:lnTo>
                    <a:lnTo>
                      <a:pt x="260" y="590"/>
                    </a:lnTo>
                    <a:lnTo>
                      <a:pt x="224" y="605"/>
                    </a:lnTo>
                    <a:lnTo>
                      <a:pt x="192" y="627"/>
                    </a:lnTo>
                    <a:lnTo>
                      <a:pt x="163" y="651"/>
                    </a:lnTo>
                    <a:lnTo>
                      <a:pt x="138" y="681"/>
                    </a:lnTo>
                    <a:lnTo>
                      <a:pt x="118" y="714"/>
                    </a:lnTo>
                    <a:lnTo>
                      <a:pt x="103" y="749"/>
                    </a:lnTo>
                    <a:lnTo>
                      <a:pt x="93" y="788"/>
                    </a:lnTo>
                    <a:lnTo>
                      <a:pt x="90" y="828"/>
                    </a:lnTo>
                    <a:lnTo>
                      <a:pt x="93" y="869"/>
                    </a:lnTo>
                    <a:lnTo>
                      <a:pt x="103" y="908"/>
                    </a:lnTo>
                    <a:lnTo>
                      <a:pt x="118" y="944"/>
                    </a:lnTo>
                    <a:lnTo>
                      <a:pt x="139" y="977"/>
                    </a:lnTo>
                    <a:lnTo>
                      <a:pt x="164" y="1006"/>
                    </a:lnTo>
                    <a:lnTo>
                      <a:pt x="193" y="1032"/>
                    </a:lnTo>
                    <a:lnTo>
                      <a:pt x="227" y="1052"/>
                    </a:lnTo>
                    <a:lnTo>
                      <a:pt x="263" y="1068"/>
                    </a:lnTo>
                    <a:lnTo>
                      <a:pt x="301" y="1077"/>
                    </a:lnTo>
                    <a:lnTo>
                      <a:pt x="343" y="1081"/>
                    </a:lnTo>
                    <a:lnTo>
                      <a:pt x="356" y="1081"/>
                    </a:lnTo>
                    <a:lnTo>
                      <a:pt x="357" y="1081"/>
                    </a:lnTo>
                    <a:lnTo>
                      <a:pt x="1428" y="1081"/>
                    </a:lnTo>
                    <a:lnTo>
                      <a:pt x="1442" y="1081"/>
                    </a:lnTo>
                    <a:lnTo>
                      <a:pt x="1482" y="1077"/>
                    </a:lnTo>
                    <a:lnTo>
                      <a:pt x="1521" y="1068"/>
                    </a:lnTo>
                    <a:lnTo>
                      <a:pt x="1557" y="1052"/>
                    </a:lnTo>
                    <a:lnTo>
                      <a:pt x="1590" y="1032"/>
                    </a:lnTo>
                    <a:lnTo>
                      <a:pt x="1619" y="1006"/>
                    </a:lnTo>
                    <a:lnTo>
                      <a:pt x="1645" y="977"/>
                    </a:lnTo>
                    <a:lnTo>
                      <a:pt x="1665" y="944"/>
                    </a:lnTo>
                    <a:lnTo>
                      <a:pt x="1681" y="908"/>
                    </a:lnTo>
                    <a:lnTo>
                      <a:pt x="1690" y="869"/>
                    </a:lnTo>
                    <a:lnTo>
                      <a:pt x="1693" y="828"/>
                    </a:lnTo>
                    <a:lnTo>
                      <a:pt x="1690" y="791"/>
                    </a:lnTo>
                    <a:lnTo>
                      <a:pt x="1682" y="755"/>
                    </a:lnTo>
                    <a:lnTo>
                      <a:pt x="1670" y="720"/>
                    </a:lnTo>
                    <a:lnTo>
                      <a:pt x="1652" y="690"/>
                    </a:lnTo>
                    <a:lnTo>
                      <a:pt x="1629" y="660"/>
                    </a:lnTo>
                    <a:lnTo>
                      <a:pt x="1605" y="636"/>
                    </a:lnTo>
                    <a:lnTo>
                      <a:pt x="1575" y="614"/>
                    </a:lnTo>
                    <a:lnTo>
                      <a:pt x="1543" y="597"/>
                    </a:lnTo>
                    <a:lnTo>
                      <a:pt x="1508" y="585"/>
                    </a:lnTo>
                    <a:lnTo>
                      <a:pt x="1471" y="578"/>
                    </a:lnTo>
                    <a:lnTo>
                      <a:pt x="1421" y="571"/>
                    </a:lnTo>
                    <a:lnTo>
                      <a:pt x="1433" y="522"/>
                    </a:lnTo>
                    <a:lnTo>
                      <a:pt x="1436" y="504"/>
                    </a:lnTo>
                    <a:lnTo>
                      <a:pt x="1437" y="487"/>
                    </a:lnTo>
                    <a:lnTo>
                      <a:pt x="1434" y="458"/>
                    </a:lnTo>
                    <a:lnTo>
                      <a:pt x="1426" y="431"/>
                    </a:lnTo>
                    <a:lnTo>
                      <a:pt x="1414" y="406"/>
                    </a:lnTo>
                    <a:lnTo>
                      <a:pt x="1397" y="384"/>
                    </a:lnTo>
                    <a:lnTo>
                      <a:pt x="1393" y="380"/>
                    </a:lnTo>
                    <a:lnTo>
                      <a:pt x="1389" y="376"/>
                    </a:lnTo>
                    <a:lnTo>
                      <a:pt x="1387" y="374"/>
                    </a:lnTo>
                    <a:lnTo>
                      <a:pt x="1364" y="358"/>
                    </a:lnTo>
                    <a:lnTo>
                      <a:pt x="1339" y="345"/>
                    </a:lnTo>
                    <a:lnTo>
                      <a:pt x="1312" y="337"/>
                    </a:lnTo>
                    <a:lnTo>
                      <a:pt x="1283" y="335"/>
                    </a:lnTo>
                    <a:lnTo>
                      <a:pt x="1282" y="335"/>
                    </a:lnTo>
                    <a:lnTo>
                      <a:pt x="1256" y="336"/>
                    </a:lnTo>
                    <a:lnTo>
                      <a:pt x="1233" y="340"/>
                    </a:lnTo>
                    <a:lnTo>
                      <a:pt x="1212" y="348"/>
                    </a:lnTo>
                    <a:lnTo>
                      <a:pt x="1196" y="358"/>
                    </a:lnTo>
                    <a:lnTo>
                      <a:pt x="1182" y="370"/>
                    </a:lnTo>
                    <a:lnTo>
                      <a:pt x="1171" y="381"/>
                    </a:lnTo>
                    <a:lnTo>
                      <a:pt x="1163" y="390"/>
                    </a:lnTo>
                    <a:lnTo>
                      <a:pt x="1157" y="398"/>
                    </a:lnTo>
                    <a:lnTo>
                      <a:pt x="1154" y="402"/>
                    </a:lnTo>
                    <a:lnTo>
                      <a:pt x="1152" y="407"/>
                    </a:lnTo>
                    <a:lnTo>
                      <a:pt x="1149" y="410"/>
                    </a:lnTo>
                    <a:lnTo>
                      <a:pt x="1147" y="415"/>
                    </a:lnTo>
                    <a:lnTo>
                      <a:pt x="1144" y="420"/>
                    </a:lnTo>
                    <a:lnTo>
                      <a:pt x="1139" y="429"/>
                    </a:lnTo>
                    <a:lnTo>
                      <a:pt x="918" y="933"/>
                    </a:lnTo>
                    <a:lnTo>
                      <a:pt x="910" y="944"/>
                    </a:lnTo>
                    <a:lnTo>
                      <a:pt x="900" y="953"/>
                    </a:lnTo>
                    <a:lnTo>
                      <a:pt x="889" y="958"/>
                    </a:lnTo>
                    <a:lnTo>
                      <a:pt x="876" y="960"/>
                    </a:lnTo>
                    <a:lnTo>
                      <a:pt x="866" y="959"/>
                    </a:lnTo>
                    <a:lnTo>
                      <a:pt x="857" y="957"/>
                    </a:lnTo>
                    <a:lnTo>
                      <a:pt x="846" y="949"/>
                    </a:lnTo>
                    <a:lnTo>
                      <a:pt x="838" y="939"/>
                    </a:lnTo>
                    <a:lnTo>
                      <a:pt x="833" y="927"/>
                    </a:lnTo>
                    <a:lnTo>
                      <a:pt x="640" y="494"/>
                    </a:lnTo>
                    <a:lnTo>
                      <a:pt x="637" y="479"/>
                    </a:lnTo>
                    <a:lnTo>
                      <a:pt x="638" y="465"/>
                    </a:lnTo>
                    <a:lnTo>
                      <a:pt x="643" y="452"/>
                    </a:lnTo>
                    <a:lnTo>
                      <a:pt x="652" y="442"/>
                    </a:lnTo>
                    <a:lnTo>
                      <a:pt x="664" y="434"/>
                    </a:lnTo>
                    <a:lnTo>
                      <a:pt x="678" y="429"/>
                    </a:lnTo>
                    <a:lnTo>
                      <a:pt x="692" y="431"/>
                    </a:lnTo>
                    <a:lnTo>
                      <a:pt x="704" y="436"/>
                    </a:lnTo>
                    <a:lnTo>
                      <a:pt x="716" y="444"/>
                    </a:lnTo>
                    <a:lnTo>
                      <a:pt x="724" y="456"/>
                    </a:lnTo>
                    <a:lnTo>
                      <a:pt x="876" y="801"/>
                    </a:lnTo>
                    <a:lnTo>
                      <a:pt x="1057" y="389"/>
                    </a:lnTo>
                    <a:lnTo>
                      <a:pt x="1057" y="389"/>
                    </a:lnTo>
                    <a:lnTo>
                      <a:pt x="1075" y="357"/>
                    </a:lnTo>
                    <a:lnTo>
                      <a:pt x="1097" y="329"/>
                    </a:lnTo>
                    <a:lnTo>
                      <a:pt x="1122" y="303"/>
                    </a:lnTo>
                    <a:lnTo>
                      <a:pt x="1151" y="282"/>
                    </a:lnTo>
                    <a:lnTo>
                      <a:pt x="1182" y="265"/>
                    </a:lnTo>
                    <a:lnTo>
                      <a:pt x="1217" y="253"/>
                    </a:lnTo>
                    <a:lnTo>
                      <a:pt x="1253" y="246"/>
                    </a:lnTo>
                    <a:lnTo>
                      <a:pt x="1254" y="246"/>
                    </a:lnTo>
                    <a:lnTo>
                      <a:pt x="1256" y="246"/>
                    </a:lnTo>
                    <a:lnTo>
                      <a:pt x="1258" y="245"/>
                    </a:lnTo>
                    <a:lnTo>
                      <a:pt x="1262" y="245"/>
                    </a:lnTo>
                    <a:lnTo>
                      <a:pt x="1265" y="245"/>
                    </a:lnTo>
                    <a:lnTo>
                      <a:pt x="1267" y="245"/>
                    </a:lnTo>
                    <a:lnTo>
                      <a:pt x="1273" y="245"/>
                    </a:lnTo>
                    <a:lnTo>
                      <a:pt x="1282" y="243"/>
                    </a:lnTo>
                    <a:lnTo>
                      <a:pt x="1290" y="245"/>
                    </a:lnTo>
                    <a:lnTo>
                      <a:pt x="1294" y="245"/>
                    </a:lnTo>
                    <a:lnTo>
                      <a:pt x="1301" y="245"/>
                    </a:lnTo>
                    <a:lnTo>
                      <a:pt x="1342" y="250"/>
                    </a:lnTo>
                    <a:lnTo>
                      <a:pt x="1379" y="263"/>
                    </a:lnTo>
                    <a:lnTo>
                      <a:pt x="1414" y="281"/>
                    </a:lnTo>
                    <a:lnTo>
                      <a:pt x="1445" y="304"/>
                    </a:lnTo>
                    <a:lnTo>
                      <a:pt x="1452" y="311"/>
                    </a:lnTo>
                    <a:lnTo>
                      <a:pt x="1457" y="316"/>
                    </a:lnTo>
                    <a:lnTo>
                      <a:pt x="1479" y="340"/>
                    </a:lnTo>
                    <a:lnTo>
                      <a:pt x="1497" y="367"/>
                    </a:lnTo>
                    <a:lnTo>
                      <a:pt x="1496" y="367"/>
                    </a:lnTo>
                    <a:lnTo>
                      <a:pt x="1509" y="396"/>
                    </a:lnTo>
                    <a:lnTo>
                      <a:pt x="1519" y="425"/>
                    </a:lnTo>
                    <a:lnTo>
                      <a:pt x="1525" y="455"/>
                    </a:lnTo>
                    <a:lnTo>
                      <a:pt x="1527" y="487"/>
                    </a:lnTo>
                    <a:lnTo>
                      <a:pt x="1527" y="496"/>
                    </a:lnTo>
                    <a:lnTo>
                      <a:pt x="1571" y="511"/>
                    </a:lnTo>
                    <a:lnTo>
                      <a:pt x="1611" y="530"/>
                    </a:lnTo>
                    <a:lnTo>
                      <a:pt x="1648" y="554"/>
                    </a:lnTo>
                    <a:lnTo>
                      <a:pt x="1682" y="584"/>
                    </a:lnTo>
                    <a:lnTo>
                      <a:pt x="1711" y="618"/>
                    </a:lnTo>
                    <a:lnTo>
                      <a:pt x="1736" y="654"/>
                    </a:lnTo>
                    <a:lnTo>
                      <a:pt x="1756" y="694"/>
                    </a:lnTo>
                    <a:lnTo>
                      <a:pt x="1772" y="737"/>
                    </a:lnTo>
                    <a:lnTo>
                      <a:pt x="1781" y="782"/>
                    </a:lnTo>
                    <a:lnTo>
                      <a:pt x="1784" y="828"/>
                    </a:lnTo>
                    <a:lnTo>
                      <a:pt x="1781" y="874"/>
                    </a:lnTo>
                    <a:lnTo>
                      <a:pt x="1772" y="919"/>
                    </a:lnTo>
                    <a:lnTo>
                      <a:pt x="1757" y="962"/>
                    </a:lnTo>
                    <a:lnTo>
                      <a:pt x="1737" y="1002"/>
                    </a:lnTo>
                    <a:lnTo>
                      <a:pt x="1712" y="1038"/>
                    </a:lnTo>
                    <a:lnTo>
                      <a:pt x="1683" y="1072"/>
                    </a:lnTo>
                    <a:lnTo>
                      <a:pt x="1651" y="1100"/>
                    </a:lnTo>
                    <a:lnTo>
                      <a:pt x="1615" y="1125"/>
                    </a:lnTo>
                    <a:lnTo>
                      <a:pt x="1574" y="1145"/>
                    </a:lnTo>
                    <a:lnTo>
                      <a:pt x="1533" y="1159"/>
                    </a:lnTo>
                    <a:lnTo>
                      <a:pt x="1488" y="1168"/>
                    </a:lnTo>
                    <a:lnTo>
                      <a:pt x="1442" y="1172"/>
                    </a:lnTo>
                    <a:lnTo>
                      <a:pt x="1424" y="1172"/>
                    </a:lnTo>
                    <a:lnTo>
                      <a:pt x="360" y="1172"/>
                    </a:lnTo>
                    <a:lnTo>
                      <a:pt x="343" y="1172"/>
                    </a:lnTo>
                    <a:lnTo>
                      <a:pt x="295" y="1168"/>
                    </a:lnTo>
                    <a:lnTo>
                      <a:pt x="252" y="1159"/>
                    </a:lnTo>
                    <a:lnTo>
                      <a:pt x="209" y="1145"/>
                    </a:lnTo>
                    <a:lnTo>
                      <a:pt x="170" y="1125"/>
                    </a:lnTo>
                    <a:lnTo>
                      <a:pt x="133" y="1100"/>
                    </a:lnTo>
                    <a:lnTo>
                      <a:pt x="100" y="1072"/>
                    </a:lnTo>
                    <a:lnTo>
                      <a:pt x="71" y="1038"/>
                    </a:lnTo>
                    <a:lnTo>
                      <a:pt x="46" y="1002"/>
                    </a:lnTo>
                    <a:lnTo>
                      <a:pt x="27" y="962"/>
                    </a:lnTo>
                    <a:lnTo>
                      <a:pt x="12" y="919"/>
                    </a:lnTo>
                    <a:lnTo>
                      <a:pt x="3" y="874"/>
                    </a:lnTo>
                    <a:lnTo>
                      <a:pt x="0" y="828"/>
                    </a:lnTo>
                    <a:lnTo>
                      <a:pt x="2" y="783"/>
                    </a:lnTo>
                    <a:lnTo>
                      <a:pt x="11" y="739"/>
                    </a:lnTo>
                    <a:lnTo>
                      <a:pt x="26" y="698"/>
                    </a:lnTo>
                    <a:lnTo>
                      <a:pt x="45" y="658"/>
                    </a:lnTo>
                    <a:lnTo>
                      <a:pt x="69" y="622"/>
                    </a:lnTo>
                    <a:lnTo>
                      <a:pt x="97" y="589"/>
                    </a:lnTo>
                    <a:lnTo>
                      <a:pt x="129" y="560"/>
                    </a:lnTo>
                    <a:lnTo>
                      <a:pt x="164" y="535"/>
                    </a:lnTo>
                    <a:lnTo>
                      <a:pt x="202" y="515"/>
                    </a:lnTo>
                    <a:lnTo>
                      <a:pt x="243" y="499"/>
                    </a:lnTo>
                    <a:lnTo>
                      <a:pt x="286" y="489"/>
                    </a:lnTo>
                    <a:lnTo>
                      <a:pt x="285" y="461"/>
                    </a:lnTo>
                    <a:lnTo>
                      <a:pt x="289" y="407"/>
                    </a:lnTo>
                    <a:lnTo>
                      <a:pt x="298" y="355"/>
                    </a:lnTo>
                    <a:lnTo>
                      <a:pt x="312" y="305"/>
                    </a:lnTo>
                    <a:lnTo>
                      <a:pt x="333" y="258"/>
                    </a:lnTo>
                    <a:lnTo>
                      <a:pt x="357" y="214"/>
                    </a:lnTo>
                    <a:lnTo>
                      <a:pt x="386" y="173"/>
                    </a:lnTo>
                    <a:lnTo>
                      <a:pt x="420" y="135"/>
                    </a:lnTo>
                    <a:lnTo>
                      <a:pt x="458" y="102"/>
                    </a:lnTo>
                    <a:lnTo>
                      <a:pt x="499" y="71"/>
                    </a:lnTo>
                    <a:lnTo>
                      <a:pt x="544" y="46"/>
                    </a:lnTo>
                    <a:lnTo>
                      <a:pt x="591" y="26"/>
                    </a:lnTo>
                    <a:lnTo>
                      <a:pt x="640" y="11"/>
                    </a:lnTo>
                    <a:lnTo>
                      <a:pt x="692" y="2"/>
                    </a:lnTo>
                    <a:lnTo>
                      <a:pt x="7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9"/>
              <p:cNvSpPr>
                <a:spLocks noEditPoints="1"/>
              </p:cNvSpPr>
              <p:nvPr userDrawn="1"/>
            </p:nvSpPr>
            <p:spPr bwMode="auto">
              <a:xfrm>
                <a:off x="5187951" y="2438401"/>
                <a:ext cx="88900" cy="44450"/>
              </a:xfrm>
              <a:custGeom>
                <a:avLst/>
                <a:gdLst>
                  <a:gd name="T0" fmla="*/ 55 w 113"/>
                  <a:gd name="T1" fmla="*/ 0 h 57"/>
                  <a:gd name="T2" fmla="*/ 63 w 113"/>
                  <a:gd name="T3" fmla="*/ 0 h 57"/>
                  <a:gd name="T4" fmla="*/ 83 w 113"/>
                  <a:gd name="T5" fmla="*/ 50 h 57"/>
                  <a:gd name="T6" fmla="*/ 105 w 113"/>
                  <a:gd name="T7" fmla="*/ 0 h 57"/>
                  <a:gd name="T8" fmla="*/ 113 w 113"/>
                  <a:gd name="T9" fmla="*/ 0 h 57"/>
                  <a:gd name="T10" fmla="*/ 113 w 113"/>
                  <a:gd name="T11" fmla="*/ 57 h 57"/>
                  <a:gd name="T12" fmla="*/ 108 w 113"/>
                  <a:gd name="T13" fmla="*/ 57 h 57"/>
                  <a:gd name="T14" fmla="*/ 108 w 113"/>
                  <a:gd name="T15" fmla="*/ 5 h 57"/>
                  <a:gd name="T16" fmla="*/ 107 w 113"/>
                  <a:gd name="T17" fmla="*/ 5 h 57"/>
                  <a:gd name="T18" fmla="*/ 86 w 113"/>
                  <a:gd name="T19" fmla="*/ 57 h 57"/>
                  <a:gd name="T20" fmla="*/ 82 w 113"/>
                  <a:gd name="T21" fmla="*/ 57 h 57"/>
                  <a:gd name="T22" fmla="*/ 61 w 113"/>
                  <a:gd name="T23" fmla="*/ 5 h 57"/>
                  <a:gd name="T24" fmla="*/ 60 w 113"/>
                  <a:gd name="T25" fmla="*/ 5 h 57"/>
                  <a:gd name="T26" fmla="*/ 60 w 113"/>
                  <a:gd name="T27" fmla="*/ 57 h 57"/>
                  <a:gd name="T28" fmla="*/ 55 w 113"/>
                  <a:gd name="T29" fmla="*/ 57 h 57"/>
                  <a:gd name="T30" fmla="*/ 55 w 113"/>
                  <a:gd name="T31" fmla="*/ 0 h 57"/>
                  <a:gd name="T32" fmla="*/ 0 w 113"/>
                  <a:gd name="T33" fmla="*/ 0 h 57"/>
                  <a:gd name="T34" fmla="*/ 42 w 113"/>
                  <a:gd name="T35" fmla="*/ 0 h 57"/>
                  <a:gd name="T36" fmla="*/ 42 w 113"/>
                  <a:gd name="T37" fmla="*/ 5 h 57"/>
                  <a:gd name="T38" fmla="*/ 24 w 113"/>
                  <a:gd name="T39" fmla="*/ 5 h 57"/>
                  <a:gd name="T40" fmla="*/ 24 w 113"/>
                  <a:gd name="T41" fmla="*/ 57 h 57"/>
                  <a:gd name="T42" fmla="*/ 18 w 113"/>
                  <a:gd name="T43" fmla="*/ 57 h 57"/>
                  <a:gd name="T44" fmla="*/ 18 w 113"/>
                  <a:gd name="T45" fmla="*/ 5 h 57"/>
                  <a:gd name="T46" fmla="*/ 0 w 113"/>
                  <a:gd name="T47" fmla="*/ 5 h 57"/>
                  <a:gd name="T48" fmla="*/ 0 w 113"/>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57">
                    <a:moveTo>
                      <a:pt x="55" y="0"/>
                    </a:moveTo>
                    <a:lnTo>
                      <a:pt x="63" y="0"/>
                    </a:lnTo>
                    <a:lnTo>
                      <a:pt x="83" y="50"/>
                    </a:lnTo>
                    <a:lnTo>
                      <a:pt x="105" y="0"/>
                    </a:lnTo>
                    <a:lnTo>
                      <a:pt x="113" y="0"/>
                    </a:lnTo>
                    <a:lnTo>
                      <a:pt x="113" y="57"/>
                    </a:lnTo>
                    <a:lnTo>
                      <a:pt x="108" y="57"/>
                    </a:lnTo>
                    <a:lnTo>
                      <a:pt x="108" y="5"/>
                    </a:lnTo>
                    <a:lnTo>
                      <a:pt x="107" y="5"/>
                    </a:lnTo>
                    <a:lnTo>
                      <a:pt x="86" y="57"/>
                    </a:lnTo>
                    <a:lnTo>
                      <a:pt x="82" y="57"/>
                    </a:lnTo>
                    <a:lnTo>
                      <a:pt x="61" y="5"/>
                    </a:lnTo>
                    <a:lnTo>
                      <a:pt x="60" y="5"/>
                    </a:lnTo>
                    <a:lnTo>
                      <a:pt x="60" y="57"/>
                    </a:lnTo>
                    <a:lnTo>
                      <a:pt x="55" y="57"/>
                    </a:lnTo>
                    <a:lnTo>
                      <a:pt x="55" y="0"/>
                    </a:lnTo>
                    <a:close/>
                    <a:moveTo>
                      <a:pt x="0" y="0"/>
                    </a:moveTo>
                    <a:lnTo>
                      <a:pt x="42" y="0"/>
                    </a:lnTo>
                    <a:lnTo>
                      <a:pt x="42" y="5"/>
                    </a:lnTo>
                    <a:lnTo>
                      <a:pt x="24" y="5"/>
                    </a:lnTo>
                    <a:lnTo>
                      <a:pt x="24" y="57"/>
                    </a:lnTo>
                    <a:lnTo>
                      <a:pt x="18" y="57"/>
                    </a:lnTo>
                    <a:lnTo>
                      <a:pt x="18" y="5"/>
                    </a:lnTo>
                    <a:lnTo>
                      <a:pt x="0" y="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 - Comparison - Blu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4721" y="1014984"/>
            <a:ext cx="3883025" cy="3639312"/>
          </a:xfrm>
        </p:spPr>
        <p:txBody>
          <a:bodyPr wrap="square" anchor="t">
            <a:normAutofit/>
          </a:bodyPr>
          <a:lstStyle>
            <a:lvl1pPr>
              <a:defRPr sz="2000" baseline="0">
                <a:solidFill>
                  <a:schemeClr val="bg1"/>
                </a:solidFill>
              </a:defRPr>
            </a:lvl1pPr>
            <a:lvl2pPr>
              <a:defRPr sz="1800" baseline="0"/>
            </a:lvl2pPr>
            <a:lvl3pPr>
              <a:defRPr sz="1400"/>
            </a:lvl3pPr>
            <a:lvl4pPr>
              <a:defRPr sz="1200"/>
            </a:lvl4pPr>
            <a:lvl5pPr>
              <a:defRPr sz="1000" baseline="0"/>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defRPr baseline="0"/>
            </a:lvl1pPr>
            <a:lvl2pPr>
              <a:defRPr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fidential - Two Content,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1014983"/>
            <a:ext cx="9144000" cy="36393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lumMod val="40000"/>
                    <a:lumOff val="6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6364" y="1014984"/>
            <a:ext cx="3883025" cy="3639312"/>
          </a:xfrm>
        </p:spPr>
        <p:txBody>
          <a:bodyPr wrap="square" anchor="t">
            <a:normAutofit/>
          </a:bodyPr>
          <a:lstStyle>
            <a:lvl1pPr>
              <a:buClr>
                <a:schemeClr val="bg1"/>
              </a:buClr>
              <a:defRPr sz="2000" baseline="0">
                <a:solidFill>
                  <a:schemeClr val="bg1"/>
                </a:solidFill>
              </a:defRPr>
            </a:lvl1pPr>
            <a:lvl2pPr>
              <a:buClr>
                <a:schemeClr val="bg1"/>
              </a:buClr>
              <a:defRPr sz="1800" baseline="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000" baseline="0">
                <a:solidFill>
                  <a:schemeClr val="bg1"/>
                </a:solidFill>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fidential - Content with Caption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7" name="Rectangle 6"/>
          <p:cNvSpPr/>
          <p:nvPr userDrawn="1"/>
        </p:nvSpPr>
        <p:spPr>
          <a:xfrm>
            <a:off x="0" y="12357"/>
            <a:ext cx="3127248"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8" name="Rectangle 7"/>
          <p:cNvSpPr/>
          <p:nvPr userDrawn="1"/>
        </p:nvSpPr>
        <p:spPr>
          <a:xfrm>
            <a:off x="0" y="4666653"/>
            <a:ext cx="9144000" cy="489204"/>
          </a:xfrm>
          <a:prstGeom prst="rect">
            <a:avLst/>
          </a:prstGeom>
          <a:solidFill>
            <a:srgbClr val="DB3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228600"/>
            <a:ext cx="3127248" cy="369332"/>
          </a:xfrm>
        </p:spPr>
        <p:txBody>
          <a:bodyPr anchor="t" anchorCtr="0">
            <a:spAutoFit/>
          </a:bodyPr>
          <a:lstStyle>
            <a:lvl1pP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cap="none" baseline="0">
                <a:solidFill>
                  <a:schemeClr val="bg1"/>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59"/>
            <a:ext cx="6016752" cy="4014216"/>
          </a:xfrm>
        </p:spPr>
        <p:txBody>
          <a:bodyPr lIns="274320" tIns="45720" rIns="457200" bIns="45720" anchor="t" anchorCtr="0">
            <a:normAutofit/>
          </a:bodyPr>
          <a:lstStyle>
            <a:lvl1pPr>
              <a:defRPr sz="2000" baseline="0">
                <a:solidFill>
                  <a:schemeClr val="bg1"/>
                </a:solidFill>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994407"/>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972517E6-58C8-49B3-A038-306AA97CE4BF}" type="slidenum">
              <a:rPr lang="en-US" smtClean="0"/>
              <a:pPr/>
              <a:t>‹#›</a:t>
            </a:fld>
            <a:endParaRPr lang="en-US" dirty="0"/>
          </a:p>
        </p:txBody>
      </p:sp>
      <p:sp>
        <p:nvSpPr>
          <p:cNvPr id="9" name="TextBox 3"/>
          <p:cNvSpPr txBox="1"/>
          <p:nvPr userDrawn="1"/>
        </p:nvSpPr>
        <p:spPr>
          <a:xfrm>
            <a:off x="2819401" y="4736592"/>
            <a:ext cx="3505200" cy="246221"/>
          </a:xfrm>
          <a:prstGeom prst="rect">
            <a:avLst/>
          </a:prstGeom>
          <a:noFill/>
        </p:spPr>
        <p:txBody>
          <a:bodyPr wrap="square" rtlCol="0" anchor="ctr">
            <a:spAutoFit/>
          </a:bodyPr>
          <a:lstStyle/>
          <a:p>
            <a:pPr algn="ctr" defTabSz="182880"/>
            <a:r>
              <a:rPr lang="en-US" sz="1000" b="0" cap="all" spc="0" baseline="0" dirty="0">
                <a:solidFill>
                  <a:schemeClr val="bg1"/>
                </a:solidFill>
                <a:latin typeface="+mn-lt"/>
                <a:cs typeface="Arial" pitchFamily="34" charset="0"/>
              </a:rPr>
              <a:t>CONFIDENTIAL  •  DO NOT DISCLOSE</a:t>
            </a:r>
          </a:p>
        </p:txBody>
      </p:sp>
      <p:sp>
        <p:nvSpPr>
          <p:cNvPr id="10"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fidential - Case Study Only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6016752" y="12357"/>
            <a:ext cx="3127248"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p:cNvSpPr>
            <a:spLocks noGrp="1"/>
          </p:cNvSpPr>
          <p:nvPr>
            <p:ph type="title" hasCustomPrompt="1"/>
          </p:nvPr>
        </p:nvSpPr>
        <p:spPr>
          <a:xfrm>
            <a:off x="0" y="192024"/>
            <a:ext cx="6016752" cy="430887"/>
          </a:xfrm>
        </p:spPr>
        <p:txBody>
          <a:bodyPr lIns="182880" rIns="182880" anchor="b" anchorCtr="0">
            <a:noAutofit/>
          </a:bodyPr>
          <a:lstStyle>
            <a:lvl1pPr>
              <a:defRPr sz="2200" baseline="0"/>
            </a:lvl1pPr>
          </a:lstStyle>
          <a:p>
            <a:r>
              <a:rPr lang="en-US" dirty="0"/>
              <a:t>Click to Edit Title</a:t>
            </a:r>
          </a:p>
        </p:txBody>
      </p:sp>
      <p:sp>
        <p:nvSpPr>
          <p:cNvPr id="21" name="Text Placeholder 2"/>
          <p:cNvSpPr>
            <a:spLocks noGrp="1"/>
          </p:cNvSpPr>
          <p:nvPr>
            <p:ph type="body" sz="quarter" idx="11" hasCustomPrompt="1"/>
          </p:nvPr>
        </p:nvSpPr>
        <p:spPr>
          <a:xfrm>
            <a:off x="0" y="634142"/>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0338"/>
            <a:ext cx="6016752" cy="3730752"/>
          </a:xfrm>
        </p:spPr>
        <p:txBody>
          <a:bodyPr lIns="365760" rIns="274320" bIns="45720" anchor="t" anchorCtr="0">
            <a:normAutofit/>
          </a:bodyPr>
          <a:lstStyle>
            <a:lvl1pPr>
              <a:defRPr sz="2000" baseline="0">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5" name="Text Placeholder 4"/>
          <p:cNvSpPr>
            <a:spLocks noGrp="1"/>
          </p:cNvSpPr>
          <p:nvPr>
            <p:ph type="body" sz="half" idx="13" hasCustomPrompt="1"/>
          </p:nvPr>
        </p:nvSpPr>
        <p:spPr>
          <a:xfrm flipH="1">
            <a:off x="6016752" y="228600"/>
            <a:ext cx="3127248" cy="369332"/>
          </a:xfrm>
        </p:spPr>
        <p:txBody>
          <a:bodyPr lIns="91440" anchor="t" anchorCtr="0">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Heading</a:t>
            </a:r>
          </a:p>
        </p:txBody>
      </p:sp>
      <p:sp>
        <p:nvSpPr>
          <p:cNvPr id="18" name="Text Placeholder 5"/>
          <p:cNvSpPr>
            <a:spLocks noGrp="1"/>
          </p:cNvSpPr>
          <p:nvPr>
            <p:ph type="body" sz="quarter" idx="14" hasCustomPrompt="1"/>
          </p:nvPr>
        </p:nvSpPr>
        <p:spPr>
          <a:xfrm>
            <a:off x="6428232" y="994407"/>
            <a:ext cx="2286000" cy="615553"/>
          </a:xfrm>
        </p:spPr>
        <p:txBody>
          <a:bodyPr wrap="square" anchor="t" anchorCtr="0">
            <a:spAutoFit/>
          </a:bodyPr>
          <a:lstStyle>
            <a:lvl1pPr marL="0" indent="-182880" algn="l">
              <a:buFont typeface="Arial" pitchFamily="34" charset="0"/>
              <a:buNone/>
              <a:defRPr sz="2000" b="0" cap="none" baseline="0">
                <a:solidFill>
                  <a:schemeClr val="bg1"/>
                </a:solidFill>
                <a:latin typeface="+mn-lt"/>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Click to edit caption text</a:t>
            </a:r>
          </a:p>
        </p:txBody>
      </p:sp>
      <p:sp>
        <p:nvSpPr>
          <p:cNvPr id="4" name="Slide Number Placeholder 6"/>
          <p:cNvSpPr>
            <a:spLocks noGrp="1"/>
          </p:cNvSpPr>
          <p:nvPr>
            <p:ph type="sldNum" sz="quarter" idx="17"/>
          </p:nvPr>
        </p:nvSpPr>
        <p:spPr/>
        <p:txBody>
          <a:bodyPr/>
          <a:lstStyle/>
          <a:p>
            <a:fld id="{972517E6-58C8-49B3-A038-306AA97CE4BF}" type="slidenum">
              <a:rPr lang="en-US" smtClean="0"/>
              <a:pPr/>
              <a:t>‹#›</a:t>
            </a:fld>
            <a:endParaRPr lang="en-US" dirty="0"/>
          </a:p>
        </p:txBody>
      </p:sp>
      <p:sp>
        <p:nvSpPr>
          <p:cNvPr id="9" name="Rectangle 8"/>
          <p:cNvSpPr/>
          <p:nvPr userDrawn="1"/>
        </p:nvSpPr>
        <p:spPr>
          <a:xfrm>
            <a:off x="0" y="4666653"/>
            <a:ext cx="9144000" cy="489204"/>
          </a:xfrm>
          <a:prstGeom prst="rect">
            <a:avLst/>
          </a:prstGeom>
          <a:solidFill>
            <a:srgbClr val="DB3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10" name="TextBox 9"/>
          <p:cNvSpPr txBox="1"/>
          <p:nvPr userDrawn="1"/>
        </p:nvSpPr>
        <p:spPr>
          <a:xfrm>
            <a:off x="2819401" y="4736592"/>
            <a:ext cx="3505200" cy="246221"/>
          </a:xfrm>
          <a:prstGeom prst="rect">
            <a:avLst/>
          </a:prstGeom>
          <a:noFill/>
        </p:spPr>
        <p:txBody>
          <a:bodyPr wrap="square" rtlCol="0" anchor="ctr">
            <a:spAutoFit/>
          </a:bodyPr>
          <a:lstStyle/>
          <a:p>
            <a:pPr algn="ctr" defTabSz="182880"/>
            <a:r>
              <a:rPr lang="en-US" sz="1000" b="0" cap="all" spc="0" baseline="0" dirty="0">
                <a:solidFill>
                  <a:schemeClr val="bg1"/>
                </a:solidFill>
                <a:latin typeface="+mn-lt"/>
                <a:cs typeface="Arial" pitchFamily="34" charset="0"/>
              </a:rPr>
              <a:t>CONFIDENTIAL  •  DO NOT DISCLOSE</a:t>
            </a:r>
          </a:p>
        </p:txBody>
      </p:sp>
      <p:sp>
        <p:nvSpPr>
          <p:cNvPr id="11" name="TextBox 10"/>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fidential - Blank - Blue">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972517E6-58C8-49B3-A038-306AA97CE4BF}" type="slidenum">
              <a:rPr lang="en-US" smtClean="0"/>
              <a:pPr/>
              <a:t>‹#›</a:t>
            </a:fld>
            <a:endParaRPr lang="en-US" dirty="0"/>
          </a:p>
        </p:txBody>
      </p:sp>
    </p:spTree>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AS - Content with Caption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8887"/>
            <a:ext cx="3127248" cy="369332"/>
          </a:xfrm>
        </p:spPr>
        <p:txBody>
          <a:bodyPr lIns="91440" rIns="91440" anchor="t" anchorCtr="0">
            <a:spAutoFit/>
          </a:bodyPr>
          <a:lstStyle>
            <a:lvl1pPr algn="ctr" defTabSz="182880">
              <a:spcBef>
                <a:spcPts val="0"/>
              </a:spcBef>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i="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59"/>
            <a:ext cx="6016752" cy="4507141"/>
          </a:xfrm>
        </p:spPr>
        <p:txBody>
          <a:bodyPr vert="horz" wrap="square" lIns="274320" tIns="45720" rIns="457200" bIns="91440" rtlCol="0" anchor="t" anchorCtr="0">
            <a:normAutofit/>
          </a:bodyPr>
          <a:lstStyle>
            <a:lvl1pPr>
              <a:defRPr lang="en-US" dirty="0" smtClean="0">
                <a:latin typeface="+mn-lt"/>
              </a:defRPr>
            </a:lvl1pPr>
            <a:lvl2pPr>
              <a:defRPr lang="en-US" dirty="0" smtClean="0">
                <a:latin typeface="+mn-lt"/>
              </a:defRPr>
            </a:lvl2pPr>
            <a:lvl3pPr>
              <a:defRPr lang="en-US" dirty="0" smtClean="0">
                <a:latin typeface="+mn-lt"/>
              </a:defRPr>
            </a:lvl3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4105079582"/>
      </p:ext>
    </p:extLst>
  </p:cSld>
  <p:clrMapOvr>
    <a:masterClrMapping/>
  </p:clrMapOvr>
  <p:transition>
    <p:fade/>
  </p:transition>
  <p:extLst mod="1">
    <p:ext uri="{DCECCB84-F9BA-43D5-87BE-67443E8EF086}">
      <p15:sldGuideLst xmlns:p15="http://schemas.microsoft.com/office/powerpoint/2012/main">
        <p15:guide id="1" pos="196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S - Main Customer Success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510269" cy="429768"/>
          </a:xfrm>
        </p:spPr>
        <p:txBody>
          <a:bodyPr lIns="182880" rIns="182880"/>
          <a:lstStyle>
            <a:lvl1pPr algn="ctr">
              <a:defRPr sz="2200" baseline="0">
                <a:latin typeface="+mj-lt"/>
              </a:defRPr>
            </a:lvl1pPr>
          </a:lstStyle>
          <a:p>
            <a:r>
              <a:rPr lang="en-US" dirty="0"/>
              <a:t>Customer Success - Click to Edit Title</a:t>
            </a:r>
          </a:p>
        </p:txBody>
      </p:sp>
      <p:sp>
        <p:nvSpPr>
          <p:cNvPr id="21" name="Text Placeholder 2"/>
          <p:cNvSpPr>
            <a:spLocks noGrp="1"/>
          </p:cNvSpPr>
          <p:nvPr>
            <p:ph type="body" sz="quarter" idx="11" hasCustomPrompt="1"/>
          </p:nvPr>
        </p:nvSpPr>
        <p:spPr>
          <a:xfrm>
            <a:off x="6510270" y="226814"/>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514"/>
            <a:ext cx="6510270" cy="4085003"/>
          </a:xfrm>
        </p:spPr>
        <p:txBody>
          <a:bodyPr wrap="square" lIns="365760" rIns="274320" anchor="t">
            <a:normAutofit/>
          </a:bodyPr>
          <a:lstStyle>
            <a:lvl1pPr>
              <a:defRPr sz="2000" baseline="0">
                <a:latin typeface="+mn-lt"/>
              </a:defRPr>
            </a:lvl1pPr>
            <a:lvl2pPr>
              <a:defRPr sz="1800" baseline="0">
                <a:latin typeface="+mn-lt"/>
              </a:defRPr>
            </a:lvl2pPr>
            <a:lvl3pPr>
              <a:defRPr sz="1600"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776288"/>
            <a:ext cx="2448000" cy="2867308"/>
          </a:xfrm>
        </p:spPr>
        <p:txBody>
          <a:bodyPr wrap="square" anchor="t">
            <a:normAutofit/>
          </a:bodyPr>
          <a:lstStyle>
            <a:lvl1pPr marL="0" indent="-182880">
              <a:lnSpc>
                <a:spcPct val="85000"/>
              </a:lnSpc>
              <a:buFont typeface="Arial" pitchFamily="34" charset="0"/>
              <a:buNone/>
              <a:defRPr sz="16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norm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4"/>
            <a:ext cx="2450592" cy="502920"/>
          </a:xfrm>
        </p:spPr>
        <p:txBody>
          <a:bodyPr wrap="square" anchor="t">
            <a:norm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sp>
        <p:nvSpPr>
          <p:cNvPr id="8" name="Text Placeholder 7"/>
          <p:cNvSpPr>
            <a:spLocks noGrp="1"/>
          </p:cNvSpPr>
          <p:nvPr>
            <p:ph type="body" sz="quarter" idx="19" hasCustomPrompt="1"/>
          </p:nvPr>
        </p:nvSpPr>
        <p:spPr>
          <a:xfrm>
            <a:off x="6507280" y="4735984"/>
            <a:ext cx="1484986" cy="292100"/>
          </a:xfrm>
        </p:spPr>
        <p:txBody>
          <a:bodyPr anchor="ctr" anchorCtr="0">
            <a:noAutofit/>
          </a:bodyPr>
          <a:lstStyle>
            <a:lvl1pPr marL="0" indent="0">
              <a:buNone/>
              <a:defRPr sz="1200" baseline="0">
                <a:solidFill>
                  <a:schemeClr val="bg1"/>
                </a:solidFill>
                <a:latin typeface="+mn-lt"/>
              </a:defRPr>
            </a:lvl1pPr>
          </a:lstStyle>
          <a:p>
            <a:pPr lvl="0"/>
            <a:r>
              <a:rPr lang="en-US" dirty="0"/>
              <a:t>Partner Name</a:t>
            </a:r>
          </a:p>
        </p:txBody>
      </p:sp>
      <p:sp>
        <p:nvSpPr>
          <p:cNvPr id="10" name="Text Placeholder 9"/>
          <p:cNvSpPr>
            <a:spLocks noGrp="1"/>
          </p:cNvSpPr>
          <p:nvPr>
            <p:ph type="body" sz="quarter" idx="20" hasCustomPrompt="1"/>
          </p:nvPr>
        </p:nvSpPr>
        <p:spPr>
          <a:xfrm>
            <a:off x="1" y="4728518"/>
            <a:ext cx="6510268" cy="184150"/>
          </a:xfrm>
        </p:spPr>
        <p:txBody>
          <a:bodyPr>
            <a:noAutofit/>
          </a:bodyPr>
          <a:lstStyle>
            <a:lvl1pPr marL="0" indent="0" algn="ctr">
              <a:buNone/>
              <a:defRPr sz="1200" baseline="0"/>
            </a:lvl1pPr>
            <a:lvl2pPr marL="182880" indent="0">
              <a:buNone/>
              <a:defRPr/>
            </a:lvl2pPr>
            <a:lvl3pPr marL="365760" indent="0">
              <a:buNone/>
              <a:defRPr/>
            </a:lvl3pPr>
            <a:lvl4pPr marL="548640" indent="0">
              <a:buNone/>
              <a:defRPr/>
            </a:lvl4pPr>
            <a:lvl5pPr marL="731520" indent="0">
              <a:buNone/>
              <a:defRPr/>
            </a:lvl5pPr>
          </a:lstStyle>
          <a:p>
            <a:pPr lvl="0"/>
            <a:r>
              <a:rPr lang="en-US" dirty="0"/>
              <a:t>Click to add URL to online story</a:t>
            </a:r>
          </a:p>
        </p:txBody>
      </p:sp>
    </p:spTree>
    <p:extLst/>
  </p:cSld>
  <p:clrMapOvr>
    <a:masterClrMapping/>
  </p:clrMapOvr>
  <p:transition>
    <p:fade/>
  </p:transition>
  <p:extLst mod="1">
    <p:ext uri="{DCECCB84-F9BA-43D5-87BE-67443E8EF086}">
      <p15:sldGuideLst xmlns:p15="http://schemas.microsoft.com/office/powerpoint/2012/main">
        <p15:guide id="1" pos="410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S - Customer Validation - Whit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510269" cy="429768"/>
          </a:xfrm>
        </p:spPr>
        <p:txBody>
          <a:bodyPr lIns="182880" rIns="182880"/>
          <a:lstStyle>
            <a:lvl1pPr algn="ctr">
              <a:defRPr sz="2200" baseline="0">
                <a:latin typeface="+mj-lt"/>
              </a:defRPr>
            </a:lvl1pPr>
          </a:lstStyle>
          <a:p>
            <a:r>
              <a:rPr lang="en-US" dirty="0"/>
              <a:t>Customer Validation - Click to Edit Title</a:t>
            </a:r>
          </a:p>
        </p:txBody>
      </p:sp>
      <p:sp>
        <p:nvSpPr>
          <p:cNvPr id="21" name="Text Placeholder 2"/>
          <p:cNvSpPr>
            <a:spLocks noGrp="1"/>
          </p:cNvSpPr>
          <p:nvPr>
            <p:ph type="body" sz="quarter" idx="11" hasCustomPrompt="1"/>
          </p:nvPr>
        </p:nvSpPr>
        <p:spPr>
          <a:xfrm>
            <a:off x="6510270" y="226814"/>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514"/>
            <a:ext cx="6510270" cy="4092469"/>
          </a:xfrm>
        </p:spPr>
        <p:txBody>
          <a:bodyPr wrap="square" lIns="365760" rIns="274320" anchor="t">
            <a:normAutofit/>
          </a:bodyPr>
          <a:lstStyle>
            <a:lvl1pPr>
              <a:defRPr sz="2000" baseline="0">
                <a:latin typeface="+mn-lt"/>
              </a:defRPr>
            </a:lvl1pPr>
            <a:lvl2pPr>
              <a:defRPr sz="1800" baseline="0">
                <a:latin typeface="+mn-lt"/>
              </a:defRPr>
            </a:lvl2pPr>
            <a:lvl3pPr>
              <a:defRPr sz="1600"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776288"/>
            <a:ext cx="2448000" cy="2867308"/>
          </a:xfrm>
        </p:spPr>
        <p:txBody>
          <a:bodyPr wrap="square" anchor="t">
            <a:normAutofit/>
          </a:bodyPr>
          <a:lstStyle>
            <a:lvl1pPr marL="0" indent="-182880">
              <a:lnSpc>
                <a:spcPct val="85000"/>
              </a:lnSpc>
              <a:buFont typeface="Arial" pitchFamily="34" charset="0"/>
              <a:buNone/>
              <a:defRPr sz="16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norm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3"/>
            <a:ext cx="2450592" cy="501885"/>
          </a:xfrm>
        </p:spPr>
        <p:txBody>
          <a:bodyPr wrap="square" anchor="t">
            <a:norm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sp>
        <p:nvSpPr>
          <p:cNvPr id="8" name="Text Placeholder 7"/>
          <p:cNvSpPr>
            <a:spLocks noGrp="1"/>
          </p:cNvSpPr>
          <p:nvPr>
            <p:ph type="body" sz="quarter" idx="19" hasCustomPrompt="1"/>
          </p:nvPr>
        </p:nvSpPr>
        <p:spPr>
          <a:xfrm>
            <a:off x="6507280" y="4735984"/>
            <a:ext cx="1484986" cy="292100"/>
          </a:xfrm>
        </p:spPr>
        <p:txBody>
          <a:bodyPr anchor="ctr" anchorCtr="0">
            <a:noAutofit/>
          </a:bodyPr>
          <a:lstStyle>
            <a:lvl1pPr marL="0" indent="0">
              <a:buNone/>
              <a:defRPr sz="1200" baseline="0">
                <a:solidFill>
                  <a:schemeClr val="bg1"/>
                </a:solidFill>
                <a:latin typeface="+mn-lt"/>
              </a:defRPr>
            </a:lvl1pPr>
          </a:lstStyle>
          <a:p>
            <a:pPr lvl="0"/>
            <a:r>
              <a:rPr lang="en-US" dirty="0"/>
              <a:t>Partner Name</a:t>
            </a:r>
          </a:p>
        </p:txBody>
      </p:sp>
      <p:sp>
        <p:nvSpPr>
          <p:cNvPr id="6" name="TextBox 5"/>
          <p:cNvSpPr txBox="1"/>
          <p:nvPr userDrawn="1"/>
        </p:nvSpPr>
        <p:spPr>
          <a:xfrm>
            <a:off x="3440649" y="4782265"/>
            <a:ext cx="2276795" cy="230832"/>
          </a:xfrm>
          <a:prstGeom prst="rect">
            <a:avLst/>
          </a:prstGeom>
          <a:noFill/>
        </p:spPr>
        <p:txBody>
          <a:bodyPr wrap="square" lIns="45720" r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accent1"/>
                </a:solidFill>
              </a:rPr>
              <a:t>For One-to-One Customer Use Only</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10"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image" Target="../media/image7.png"/><Relationship Id="rId5" Type="http://schemas.openxmlformats.org/officeDocument/2006/relationships/slideLayout" Target="../slideLayouts/slideLayout54.xml"/><Relationship Id="rId10" Type="http://schemas.openxmlformats.org/officeDocument/2006/relationships/theme" Target="../theme/theme5.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10" Type="http://schemas.openxmlformats.org/officeDocument/2006/relationships/theme" Target="../theme/theme6.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pPr lvl="0"/>
            <a:r>
              <a:rPr lang="en-US"/>
              <a:t>Click to edit Master title style</a:t>
            </a:r>
            <a:endParaRPr lang="en-US" dirty="0"/>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64" r:id="rId8"/>
    <p:sldLayoutId id="2147483965" r:id="rId9"/>
    <p:sldLayoutId id="2147483936" r:id="rId10"/>
    <p:sldLayoutId id="2147483937" r:id="rId11"/>
    <p:sldLayoutId id="2147483938" r:id="rId12"/>
    <p:sldLayoutId id="2147483939" r:id="rId13"/>
    <p:sldLayoutId id="2147483940" r:id="rId14"/>
    <p:sldLayoutId id="2147483935" r:id="rId15"/>
    <p:sldLayoutId id="2147483941" r:id="rId16"/>
    <p:sldLayoutId id="2147483963" r:id="rId17"/>
    <p:sldLayoutId id="2147483942" r:id="rId18"/>
    <p:sldLayoutId id="2147484013" r:id="rId19"/>
    <p:sldLayoutId id="2147484015" r:id="rId20"/>
    <p:sldLayoutId id="2147484017" r:id="rId21"/>
    <p:sldLayoutId id="2147484019" r:id="rId22"/>
    <p:sldLayoutId id="2147484021" r:id="rId23"/>
    <p:sldLayoutId id="2147484022" r:id="rId24"/>
  </p:sldLayoutIdLst>
  <p:transition>
    <p:fade/>
  </p:transition>
  <p:hf sldNum="0" hdr="0" ftr="0" dt="0"/>
  <p:txStyles>
    <p:titleStyle>
      <a:lvl1pPr algn="ctr" defTabSz="182880" rtl="0" eaLnBrk="1" latinLnBrk="0" hangingPunct="1">
        <a:spcBef>
          <a:spcPct val="0"/>
        </a:spcBef>
        <a:buNone/>
        <a:defRPr lang="en-US" sz="2800" kern="1200" cap="none" baseline="0" dirty="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grpSp>
        <p:nvGrpSpPr>
          <p:cNvPr id="9" name="Group 8"/>
          <p:cNvGrpSpPr/>
          <p:nvPr userDrawn="1"/>
        </p:nvGrpSpPr>
        <p:grpSpPr>
          <a:xfrm>
            <a:off x="8425797" y="4765184"/>
            <a:ext cx="526892" cy="220528"/>
            <a:chOff x="6145213" y="4384676"/>
            <a:chExt cx="1582738" cy="649287"/>
          </a:xfrm>
          <a:solidFill>
            <a:schemeClr val="tx2"/>
          </a:solidFill>
        </p:grpSpPr>
        <p:sp>
          <p:nvSpPr>
            <p:cNvPr id="10"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pPr lvl="0"/>
            <a:r>
              <a:rPr lang="en-US"/>
              <a:t>Click to edit Master title style</a:t>
            </a:r>
            <a:endParaRPr lang="en-US" dirty="0"/>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
        <p:nvSpPr>
          <p:cNvPr id="17"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20"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accent1"/>
                </a:solidFill>
                <a:effectLst/>
                <a:uLnTx/>
                <a:uFillTx/>
                <a:latin typeface="+mn-lt"/>
                <a:ea typeface="Calibri" charset="0"/>
                <a:cs typeface="Arial" panose="020B0604020202020204" pitchFamily="34" charset="0"/>
              </a:rPr>
              <a:t>Copyright © 2019 Scott Mongeau All rights reserved.</a:t>
            </a:r>
          </a:p>
        </p:txBody>
      </p:sp>
    </p:spTree>
    <p:extLst>
      <p:ext uri="{BB962C8B-B14F-4D97-AF65-F5344CB8AC3E}">
        <p14:creationId xmlns:p14="http://schemas.microsoft.com/office/powerpoint/2010/main" val="2012185252"/>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Lst>
  <p:transition>
    <p:fade/>
  </p:transition>
  <p:hf sldNum="0" hdr="0" ftr="0" dt="0"/>
  <p:txStyles>
    <p:titleStyle>
      <a:lvl1pPr algn="ctr" defTabSz="182880" rtl="0" eaLnBrk="1" latinLnBrk="0" hangingPunct="1">
        <a:spcBef>
          <a:spcPct val="0"/>
        </a:spcBef>
        <a:buNone/>
        <a:defRPr lang="en-US" sz="2800" kern="1200" cap="none" baseline="0" dirty="0">
          <a:solidFill>
            <a:schemeClr val="bg1"/>
          </a:solidFill>
          <a:latin typeface="+mj-lt"/>
          <a:ea typeface="+mj-ea"/>
          <a:cs typeface="+mj-cs"/>
        </a:defRPr>
      </a:lvl1pPr>
    </p:titleStyle>
    <p:bodyStyle>
      <a:lvl1pPr marL="182880" indent="-182880" algn="l" defTabSz="365760" rtl="0" eaLnBrk="1" latinLnBrk="0" hangingPunct="1">
        <a:lnSpc>
          <a:spcPct val="85000"/>
        </a:lnSpc>
        <a:spcBef>
          <a:spcPts val="800"/>
        </a:spcBef>
        <a:spcAft>
          <a:spcPts val="0"/>
        </a:spcAft>
        <a:buClr>
          <a:schemeClr val="accent1">
            <a:lumMod val="40000"/>
            <a:lumOff val="60000"/>
          </a:schemeClr>
        </a:buClr>
        <a:buSzPct val="80000"/>
        <a:buFont typeface="Arial" pitchFamily="34" charset="0"/>
        <a:buChar char="•"/>
        <a:defRPr sz="2000" b="0" kern="1200" cap="none" baseline="0">
          <a:solidFill>
            <a:schemeClr val="accent1">
              <a:lumMod val="40000"/>
              <a:lumOff val="60000"/>
            </a:schemeClr>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bg1">
            <a:lumMod val="75000"/>
          </a:schemeClr>
        </a:buClr>
        <a:buSzPct val="80000"/>
        <a:buFont typeface="Arial" pitchFamily="34" charset="0"/>
        <a:buChar char="•"/>
        <a:tabLst/>
        <a:defRPr sz="1800" kern="1200" baseline="0">
          <a:solidFill>
            <a:schemeClr val="bg1">
              <a:lumMod val="7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bg1">
            <a:lumMod val="75000"/>
          </a:schemeClr>
        </a:buClr>
        <a:buSzPct val="100000"/>
        <a:buFont typeface="Calibri" panose="020F0502020204030204" pitchFamily="34" charset="0"/>
        <a:buChar char="-"/>
        <a:defRPr sz="1400" kern="1200" baseline="0">
          <a:solidFill>
            <a:schemeClr val="bg1">
              <a:lumMod val="7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1447560" y="192024"/>
            <a:ext cx="7068312" cy="457200"/>
          </a:xfrm>
          <a:prstGeom prst="rect">
            <a:avLst/>
          </a:prstGeom>
        </p:spPr>
        <p:txBody>
          <a:bodyPr vert="horz" wrap="square" lIns="91440" tIns="45720" rIns="91440" bIns="45720" rtlCol="0" anchor="ctr" anchorCtr="0">
            <a:noAutofit/>
          </a:bodyPr>
          <a:lstStyle/>
          <a:p>
            <a:pPr lvl="0"/>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
        <p:nvSpPr>
          <p:cNvPr id="8"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Tree>
    <p:extLst>
      <p:ext uri="{BB962C8B-B14F-4D97-AF65-F5344CB8AC3E}">
        <p14:creationId xmlns:p14="http://schemas.microsoft.com/office/powerpoint/2010/main" val="173781384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66" r:id="rId6"/>
    <p:sldLayoutId id="2147483950" r:id="rId7"/>
    <p:sldLayoutId id="2147483951" r:id="rId8"/>
  </p:sldLayoutIdLst>
  <p:transition>
    <p:fade/>
  </p:transition>
  <p:hf sldNum="0" hdr="0" ftr="0" dt="0"/>
  <p:txStyles>
    <p:titleStyle>
      <a:lvl1pPr algn="l" defTabSz="182880" rtl="0" eaLnBrk="1" latinLnBrk="0" hangingPunct="1">
        <a:spcBef>
          <a:spcPct val="0"/>
        </a:spcBef>
        <a:buNone/>
        <a:defRPr lang="en-US" sz="2800" kern="1200" cap="none" baseline="0" dirty="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buClr>
          <a:srgbClr val="19BBB7"/>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buClr>
          <a:srgbClr val="19BBB7"/>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buClr>
          <a:srgbClr val="19BBB7"/>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grpSp>
        <p:nvGrpSpPr>
          <p:cNvPr id="9" name="Group 8"/>
          <p:cNvGrpSpPr/>
          <p:nvPr userDrawn="1"/>
        </p:nvGrpSpPr>
        <p:grpSpPr>
          <a:xfrm>
            <a:off x="8425797" y="4765184"/>
            <a:ext cx="526892" cy="220528"/>
            <a:chOff x="6145213" y="4384676"/>
            <a:chExt cx="1582738" cy="649287"/>
          </a:xfrm>
          <a:solidFill>
            <a:schemeClr val="tx2"/>
          </a:solidFill>
        </p:grpSpPr>
        <p:sp>
          <p:nvSpPr>
            <p:cNvPr id="10"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Placeholder 1"/>
          <p:cNvSpPr>
            <a:spLocks noGrp="1"/>
          </p:cNvSpPr>
          <p:nvPr>
            <p:ph type="title"/>
          </p:nvPr>
        </p:nvSpPr>
        <p:spPr>
          <a:xfrm>
            <a:off x="1447560" y="192024"/>
            <a:ext cx="7068312" cy="457200"/>
          </a:xfrm>
          <a:prstGeom prst="rect">
            <a:avLst/>
          </a:prstGeom>
        </p:spPr>
        <p:txBody>
          <a:bodyPr vert="horz" wrap="square" lIns="91440" tIns="45720" rIns="91440" bIns="45720" rtlCol="0" anchor="ctr" anchorCtr="0">
            <a:noAutofit/>
          </a:bodyPr>
          <a:lstStyle/>
          <a:p>
            <a:pPr lvl="0"/>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
        <p:nvSpPr>
          <p:cNvPr id="32"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20"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accent1"/>
                </a:solidFill>
                <a:effectLst/>
                <a:uLnTx/>
                <a:uFillTx/>
                <a:latin typeface="+mn-lt"/>
                <a:ea typeface="Calibri" charset="0"/>
                <a:cs typeface="Arial" panose="020B0604020202020204" pitchFamily="34" charset="0"/>
              </a:rPr>
              <a:t>Copyright © 2019 Scott Mongeau All rights reserved.</a:t>
            </a:r>
          </a:p>
        </p:txBody>
      </p:sp>
    </p:spTree>
    <p:extLst>
      <p:ext uri="{BB962C8B-B14F-4D97-AF65-F5344CB8AC3E}">
        <p14:creationId xmlns:p14="http://schemas.microsoft.com/office/powerpoint/2010/main" val="1913278133"/>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Lst>
  <p:transition>
    <p:fade/>
  </p:transition>
  <p:hf sldNum="0" hdr="0" ftr="0" dt="0"/>
  <p:txStyles>
    <p:titleStyle>
      <a:lvl1pPr algn="l" defTabSz="182880" rtl="0" eaLnBrk="1" latinLnBrk="0" hangingPunct="1">
        <a:spcBef>
          <a:spcPct val="0"/>
        </a:spcBef>
        <a:buNone/>
        <a:defRPr lang="en-US" sz="2800" kern="1200" cap="none" baseline="0" dirty="0">
          <a:solidFill>
            <a:schemeClr val="bg1"/>
          </a:solidFill>
          <a:latin typeface="+mj-lt"/>
          <a:ea typeface="+mj-ea"/>
          <a:cs typeface="+mj-cs"/>
        </a:defRPr>
      </a:lvl1pPr>
    </p:titleStyle>
    <p:bodyStyle>
      <a:lvl1pPr marL="182880" indent="-182880" algn="l" defTabSz="365760" rtl="0" eaLnBrk="1" latinLnBrk="0" hangingPunct="1">
        <a:lnSpc>
          <a:spcPct val="85000"/>
        </a:lnSpc>
        <a:spcBef>
          <a:spcPts val="800"/>
        </a:spcBef>
        <a:buClr>
          <a:srgbClr val="19BBB7"/>
        </a:buClr>
        <a:buSzPct val="80000"/>
        <a:buFont typeface="Arial" pitchFamily="34" charset="0"/>
        <a:buChar char="•"/>
        <a:defRPr sz="2000" b="0" kern="1200" cap="none" baseline="0">
          <a:solidFill>
            <a:schemeClr val="bg1"/>
          </a:solidFill>
          <a:latin typeface="+mn-lt"/>
          <a:ea typeface="+mn-ea"/>
          <a:cs typeface="+mn-cs"/>
        </a:defRPr>
      </a:lvl1pPr>
      <a:lvl2pPr marL="365760" indent="-182880" algn="l" defTabSz="365760" rtl="0" eaLnBrk="1" latinLnBrk="0" hangingPunct="1">
        <a:lnSpc>
          <a:spcPct val="85000"/>
        </a:lnSpc>
        <a:spcBef>
          <a:spcPts val="800"/>
        </a:spcBef>
        <a:buClr>
          <a:srgbClr val="19BBB7"/>
        </a:buClr>
        <a:buSzPct val="80000"/>
        <a:buFont typeface="Arial" pitchFamily="34" charset="0"/>
        <a:buChar char="•"/>
        <a:tabLst/>
        <a:defRPr sz="1800" kern="1200" baseline="0">
          <a:solidFill>
            <a:schemeClr val="bg1"/>
          </a:solidFill>
          <a:latin typeface="+mn-lt"/>
          <a:ea typeface="+mn-ea"/>
          <a:cs typeface="+mn-cs"/>
        </a:defRPr>
      </a:lvl2pPr>
      <a:lvl3pPr marL="548640" indent="-182880" algn="l" defTabSz="365760" rtl="0" eaLnBrk="1" latinLnBrk="0" hangingPunct="1">
        <a:lnSpc>
          <a:spcPct val="85000"/>
        </a:lnSpc>
        <a:spcBef>
          <a:spcPts val="800"/>
        </a:spcBef>
        <a:buClr>
          <a:srgbClr val="19BBB7"/>
        </a:buClr>
        <a:buSzPct val="100000"/>
        <a:buFont typeface="Calibri" panose="020F0502020204030204" pitchFamily="34" charset="0"/>
        <a:buChar char="-"/>
        <a:defRPr sz="1400" kern="1200" baseline="0">
          <a:solidFill>
            <a:schemeClr val="bg1"/>
          </a:solidFill>
          <a:latin typeface="+mn-lt"/>
          <a:ea typeface="+mn-ea"/>
          <a:cs typeface="+mn-cs"/>
        </a:defRPr>
      </a:lvl3pPr>
      <a:lvl4pPr marL="73152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7" name="TextBox 3"/>
          <p:cNvSpPr txBox="1"/>
          <p:nvPr/>
        </p:nvSpPr>
        <p:spPr>
          <a:xfrm>
            <a:off x="2819401" y="4736592"/>
            <a:ext cx="3505200" cy="246221"/>
          </a:xfrm>
          <a:prstGeom prst="rect">
            <a:avLst/>
          </a:prstGeom>
          <a:noFill/>
        </p:spPr>
        <p:txBody>
          <a:bodyPr wrap="square" rtlCol="0" anchor="ctr">
            <a:spAutoFit/>
          </a:bodyPr>
          <a:lstStyle/>
          <a:p>
            <a:pPr algn="ctr" defTabSz="182880"/>
            <a:r>
              <a:rPr lang="en-US" sz="1000" b="0" cap="all" spc="0" baseline="0" dirty="0">
                <a:solidFill>
                  <a:schemeClr val="bg1"/>
                </a:solidFill>
                <a:latin typeface="+mn-lt"/>
                <a:cs typeface="Arial" pitchFamily="34" charset="0"/>
              </a:rPr>
              <a:t>CONFIDENTIAL  •  DO NOT DISCLOSE</a:t>
            </a:r>
          </a:p>
        </p:txBody>
      </p:sp>
      <p:sp>
        <p:nvSpPr>
          <p:cNvPr id="9"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
        <p:nvSpPr>
          <p:cNvPr id="4" name="Slide Number Placeholder 5"/>
          <p:cNvSpPr>
            <a:spLocks noGrp="1"/>
          </p:cNvSpPr>
          <p:nvPr>
            <p:ph type="sldNum" sz="quarter" idx="4"/>
          </p:nvPr>
        </p:nvSpPr>
        <p:spPr>
          <a:xfrm>
            <a:off x="0" y="4868863"/>
            <a:ext cx="2133600" cy="274637"/>
          </a:xfrm>
          <a:prstGeom prst="rect">
            <a:avLst/>
          </a:prstGeom>
        </p:spPr>
        <p:txBody>
          <a:bodyPr vert="horz" lIns="91440" tIns="45720" rIns="91440" bIns="45720" rtlCol="0" anchor="b"/>
          <a:lstStyle>
            <a:lvl1pPr algn="l" defTabSz="182880">
              <a:defRPr sz="900">
                <a:solidFill>
                  <a:schemeClr val="bg1"/>
                </a:solidFill>
              </a:defRPr>
            </a:lvl1p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Lst>
  <p:transition>
    <p:fade/>
  </p:transition>
  <p:hf sldNum="0" hdr="0" ftr="0" dt="0"/>
  <p:txStyles>
    <p:titleStyle>
      <a:lvl1pPr algn="ctr" defTabSz="182880" rtl="0" eaLnBrk="1" latinLnBrk="0" hangingPunct="1">
        <a:spcBef>
          <a:spcPct val="0"/>
        </a:spcBef>
        <a:buNone/>
        <a:defRPr sz="2800" kern="1200" cap="none" baseline="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j-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j-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2" name="Rectangle 1"/>
          <p:cNvSpPr/>
          <p:nvPr userDrawn="1"/>
        </p:nvSpPr>
        <p:spPr>
          <a:xfrm>
            <a:off x="0" y="4654296"/>
            <a:ext cx="9144000" cy="489204"/>
          </a:xfrm>
          <a:prstGeom prst="rect">
            <a:avLst/>
          </a:prstGeom>
          <a:solidFill>
            <a:srgbClr val="DB3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7" name="TextBox 3"/>
          <p:cNvSpPr txBox="1"/>
          <p:nvPr/>
        </p:nvSpPr>
        <p:spPr>
          <a:xfrm>
            <a:off x="2819401" y="4736592"/>
            <a:ext cx="3505200" cy="246221"/>
          </a:xfrm>
          <a:prstGeom prst="rect">
            <a:avLst/>
          </a:prstGeom>
          <a:noFill/>
        </p:spPr>
        <p:txBody>
          <a:bodyPr wrap="square" rtlCol="0" anchor="ctr">
            <a:spAutoFit/>
          </a:bodyPr>
          <a:lstStyle/>
          <a:p>
            <a:pPr algn="ctr" defTabSz="182880"/>
            <a:r>
              <a:rPr lang="en-US" sz="1000" b="0" cap="all" spc="0" baseline="0" dirty="0">
                <a:solidFill>
                  <a:schemeClr val="bg1"/>
                </a:solidFill>
                <a:latin typeface="+mn-lt"/>
                <a:cs typeface="Arial" pitchFamily="34" charset="0"/>
              </a:rPr>
              <a:t>CONFIDENTIAL  •  DO NOT DISCLOSE</a:t>
            </a:r>
          </a:p>
        </p:txBody>
      </p:sp>
      <p:sp>
        <p:nvSpPr>
          <p:cNvPr id="9"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lumMod val="85000"/>
                  </a:schemeClr>
                </a:solidFill>
                <a:effectLst/>
                <a:uLnTx/>
                <a:uFillTx/>
                <a:latin typeface="+mn-lt"/>
                <a:ea typeface="Calibri" charset="0"/>
                <a:cs typeface="Arial" panose="020B0604020202020204" pitchFamily="34" charset="0"/>
              </a:rPr>
              <a:t>Copyright © 2019 Scott Mongeau All rights reserved.</a:t>
            </a:r>
          </a:p>
        </p:txBody>
      </p:sp>
      <p:sp>
        <p:nvSpPr>
          <p:cNvPr id="4" name="Slide Number Placeholder 5"/>
          <p:cNvSpPr>
            <a:spLocks noGrp="1"/>
          </p:cNvSpPr>
          <p:nvPr>
            <p:ph type="sldNum" sz="quarter" idx="4"/>
          </p:nvPr>
        </p:nvSpPr>
        <p:spPr>
          <a:xfrm>
            <a:off x="0" y="4868863"/>
            <a:ext cx="2133600" cy="274637"/>
          </a:xfrm>
          <a:prstGeom prst="rect">
            <a:avLst/>
          </a:prstGeom>
        </p:spPr>
        <p:txBody>
          <a:bodyPr vert="horz" lIns="91440" tIns="45720" rIns="91440" bIns="45720" rtlCol="0" anchor="b"/>
          <a:lstStyle>
            <a:lvl1pPr algn="l" defTabSz="182880">
              <a:defRPr sz="900">
                <a:solidFill>
                  <a:schemeClr val="bg1"/>
                </a:solidFill>
              </a:defRPr>
            </a:lvl1p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370084554"/>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Lst>
  <p:transition>
    <p:fade/>
  </p:transition>
  <p:hf sldNum="0" hdr="0" ftr="0" dt="0"/>
  <p:txStyles>
    <p:titleStyle>
      <a:lvl1pPr algn="ctr" defTabSz="182880" rtl="0" eaLnBrk="1" latinLnBrk="0" hangingPunct="1">
        <a:spcBef>
          <a:spcPct val="0"/>
        </a:spcBef>
        <a:buNone/>
        <a:defRPr sz="2800" kern="1200" cap="none" baseline="0">
          <a:solidFill>
            <a:schemeClr val="bg1"/>
          </a:solidFill>
          <a:latin typeface="+mj-lt"/>
          <a:ea typeface="+mj-ea"/>
          <a:cs typeface="+mj-cs"/>
        </a:defRPr>
      </a:lvl1pPr>
    </p:titleStyle>
    <p:bodyStyle>
      <a:lvl1pPr marL="182880" indent="-182880" algn="l" defTabSz="365760" rtl="0" eaLnBrk="1" latinLnBrk="0" hangingPunct="1">
        <a:lnSpc>
          <a:spcPct val="85000"/>
        </a:lnSpc>
        <a:spcBef>
          <a:spcPts val="800"/>
        </a:spcBef>
        <a:buClr>
          <a:schemeClr val="accent1">
            <a:lumMod val="40000"/>
            <a:lumOff val="60000"/>
          </a:schemeClr>
        </a:buClr>
        <a:buSzPct val="80000"/>
        <a:buFont typeface="Arial" pitchFamily="34" charset="0"/>
        <a:buChar char="•"/>
        <a:defRPr sz="2000" b="0" kern="1200" cap="none" baseline="0">
          <a:solidFill>
            <a:schemeClr val="bg1"/>
          </a:solidFill>
          <a:latin typeface="+mn-lt"/>
          <a:ea typeface="+mn-ea"/>
          <a:cs typeface="+mn-cs"/>
        </a:defRPr>
      </a:lvl1pPr>
      <a:lvl2pPr marL="365760" indent="-182880" algn="l" defTabSz="365760" rtl="0" eaLnBrk="1" latinLnBrk="0" hangingPunct="1">
        <a:lnSpc>
          <a:spcPct val="85000"/>
        </a:lnSpc>
        <a:spcBef>
          <a:spcPts val="800"/>
        </a:spcBef>
        <a:buClr>
          <a:schemeClr val="bg1">
            <a:lumMod val="75000"/>
          </a:schemeClr>
        </a:buClr>
        <a:buSzPct val="80000"/>
        <a:buFont typeface="Arial" pitchFamily="34" charset="0"/>
        <a:buChar char="•"/>
        <a:tabLst/>
        <a:defRPr sz="1800" kern="1200" baseline="0">
          <a:solidFill>
            <a:schemeClr val="bg1">
              <a:lumMod val="75000"/>
            </a:schemeClr>
          </a:solidFill>
          <a:latin typeface="+mn-lt"/>
          <a:ea typeface="+mn-ea"/>
          <a:cs typeface="+mn-cs"/>
        </a:defRPr>
      </a:lvl2pPr>
      <a:lvl3pPr marL="548640" indent="-182880" algn="l" defTabSz="365760" rtl="0" eaLnBrk="1" latinLnBrk="0" hangingPunct="1">
        <a:lnSpc>
          <a:spcPct val="85000"/>
        </a:lnSpc>
        <a:spcBef>
          <a:spcPts val="800"/>
        </a:spcBef>
        <a:buClr>
          <a:schemeClr val="bg1">
            <a:lumMod val="75000"/>
          </a:schemeClr>
        </a:buClr>
        <a:buSzPct val="100000"/>
        <a:buFont typeface="Calibri" panose="020F0502020204030204" pitchFamily="34" charset="0"/>
        <a:buChar char="-"/>
        <a:defRPr sz="1400" kern="1200" baseline="0">
          <a:solidFill>
            <a:schemeClr val="bg1">
              <a:lumMod val="7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j-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j-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gif"/><Relationship Id="rId2" Type="http://schemas.openxmlformats.org/officeDocument/2006/relationships/image" Target="../media/image34.jpeg"/><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hyperlink" Target="https://bit.ly/SS9rCT"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emf"/><Relationship Id="rId2" Type="http://schemas.openxmlformats.org/officeDocument/2006/relationships/image" Target="../media/image41.png"/><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image" Target="../media/image43.emf"/></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gif"/><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image" Target="../media/image49.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18" Type="http://schemas.openxmlformats.org/officeDocument/2006/relationships/image" Target="../media/image56.png"/><Relationship Id="rId26" Type="http://schemas.openxmlformats.org/officeDocument/2006/relationships/image" Target="../media/image79.png"/><Relationship Id="rId3" Type="http://schemas.openxmlformats.org/officeDocument/2006/relationships/image" Target="../media/image62.png"/><Relationship Id="rId21" Type="http://schemas.openxmlformats.org/officeDocument/2006/relationships/image" Target="../media/image74.pn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55.png"/><Relationship Id="rId25" Type="http://schemas.openxmlformats.org/officeDocument/2006/relationships/image" Target="../media/image78.png"/><Relationship Id="rId2" Type="http://schemas.openxmlformats.org/officeDocument/2006/relationships/notesSlide" Target="../notesSlides/notesSlide2.xml"/><Relationship Id="rId16" Type="http://schemas.openxmlformats.org/officeDocument/2006/relationships/image" Target="../media/image73.png"/><Relationship Id="rId20" Type="http://schemas.openxmlformats.org/officeDocument/2006/relationships/image" Target="../media/image58.png"/><Relationship Id="rId1" Type="http://schemas.openxmlformats.org/officeDocument/2006/relationships/slideLayout" Target="../slideLayouts/slideLayout23.xml"/><Relationship Id="rId6" Type="http://schemas.openxmlformats.org/officeDocument/2006/relationships/image" Target="../media/image65.png"/><Relationship Id="rId11" Type="http://schemas.openxmlformats.org/officeDocument/2006/relationships/image" Target="../media/image70.png"/><Relationship Id="rId24" Type="http://schemas.openxmlformats.org/officeDocument/2006/relationships/image" Target="../media/image77.png"/><Relationship Id="rId5" Type="http://schemas.openxmlformats.org/officeDocument/2006/relationships/image" Target="../media/image64.png"/><Relationship Id="rId15" Type="http://schemas.openxmlformats.org/officeDocument/2006/relationships/image" Target="../media/image72.gif"/><Relationship Id="rId23" Type="http://schemas.openxmlformats.org/officeDocument/2006/relationships/image" Target="../media/image76.png"/><Relationship Id="rId10" Type="http://schemas.openxmlformats.org/officeDocument/2006/relationships/image" Target="../media/image69.png"/><Relationship Id="rId19" Type="http://schemas.openxmlformats.org/officeDocument/2006/relationships/image" Target="../media/image57.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60.png"/><Relationship Id="rId22"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image" Target="../media/image80.png"/><Relationship Id="rId16" Type="http://schemas.openxmlformats.org/officeDocument/2006/relationships/image" Target="../media/image94.png"/><Relationship Id="rId1" Type="http://schemas.openxmlformats.org/officeDocument/2006/relationships/slideLayout" Target="../slideLayouts/slideLayout21.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3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hyperlink" Target="https://www.sas.com/content/dam/SAS/en_us/doc/whitepaper1/manage-analytical-life-cycle-continuous-innovation-106179.pdf"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hyperlink" Target="mailto:scott.mongeau@sas.com"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8" Type="http://schemas.openxmlformats.org/officeDocument/2006/relationships/hyperlink" Target="https://www.sas.com/en_us/whitepapers/sans-analytics-intelligence-survey-108031.html" TargetMode="External"/><Relationship Id="rId3" Type="http://schemas.openxmlformats.org/officeDocument/2006/relationships/hyperlink" Target="https://www.oreilly.com/data/free/analyzing-the-analyzers.csp" TargetMode="External"/><Relationship Id="rId7" Type="http://schemas.openxmlformats.org/officeDocument/2006/relationships/hyperlink" Target="https://www.sas.com/en_us/whitepapers/ponemon-how-security-analytics-improves-cybersecurity-defenses-108679.html" TargetMode="External"/><Relationship Id="rId12" Type="http://schemas.openxmlformats.org/officeDocument/2006/relationships/hyperlink" Target="https://www.sas.com/en_us/whitepapers/close-detection-deficit-with-security-analytics-108280.html" TargetMode="External"/><Relationship Id="rId2" Type="http://schemas.openxmlformats.org/officeDocument/2006/relationships/hyperlink" Target="http://www.springer.com/la/book/9781461463955" TargetMode="External"/><Relationship Id="rId1" Type="http://schemas.openxmlformats.org/officeDocument/2006/relationships/slideLayout" Target="../slideLayouts/slideLayout20.xml"/><Relationship Id="rId6" Type="http://schemas.openxmlformats.org/officeDocument/2006/relationships/hyperlink" Target="https://sctr7.com/2017/10/22/cybersecurity-big-data-overload/" TargetMode="External"/><Relationship Id="rId11" Type="http://schemas.openxmlformats.org/officeDocument/2006/relationships/hyperlink" Target="https://www.sas.com/en_us/software/fraud-security-intelligence/cybersecurity-solutions.html" TargetMode="External"/><Relationship Id="rId5" Type="http://schemas.openxmlformats.org/officeDocument/2006/relationships/hyperlink" Target="https://sctr7.com/2018/12/03/cybersecurity-data-science-csds-how-not-to-drown-in-your-cyber-data-lake/" TargetMode="External"/><Relationship Id="rId10" Type="http://schemas.openxmlformats.org/officeDocument/2006/relationships/hyperlink" Target="https://www.sas.com/content/dam/SAS/en_us/doc/whitepaper1/manage-analytical-life-cycle-continuous-innovation-106179.pdf" TargetMode="External"/><Relationship Id="rId4" Type="http://schemas.openxmlformats.org/officeDocument/2006/relationships/hyperlink" Target="https://hbr.org/webinar/2015/10/defending-your-networks-lessons-from-the-pentagon" TargetMode="External"/><Relationship Id="rId9" Type="http://schemas.openxmlformats.org/officeDocument/2006/relationships/hyperlink" Target="https://www.sas.com/en_us/whitepapers/sans-using-analytics-to-predict-future-attacks-breaches-108130.html"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2.xml"/><Relationship Id="rId4" Type="http://schemas.openxmlformats.org/officeDocument/2006/relationships/image" Target="../media/image100.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hyperlink" Target="https://medium.com/datadriveninvestor/differences-between-ai-and-machine-learning-and-why-it-matters-1255b182fc6" TargetMode="External"/><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102.jpeg"/></Relationships>
</file>

<file path=ppt/slides/_rels/slide5.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72.gif"/><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58.png"/><Relationship Id="rId2" Type="http://schemas.openxmlformats.org/officeDocument/2006/relationships/notesSlide" Target="../notesSlides/notesSlide4.xml"/><Relationship Id="rId16" Type="http://schemas.openxmlformats.org/officeDocument/2006/relationships/image" Target="../media/image73.png"/><Relationship Id="rId1" Type="http://schemas.openxmlformats.org/officeDocument/2006/relationships/slideLayout" Target="../slideLayouts/slideLayout22.xml"/><Relationship Id="rId6" Type="http://schemas.openxmlformats.org/officeDocument/2006/relationships/image" Target="../media/image67.png"/><Relationship Id="rId11" Type="http://schemas.openxmlformats.org/officeDocument/2006/relationships/image" Target="../media/image57.png"/><Relationship Id="rId5" Type="http://schemas.microsoft.com/office/2007/relationships/hdphoto" Target="../media/hdphoto1.wdp"/><Relationship Id="rId15" Type="http://schemas.openxmlformats.org/officeDocument/2006/relationships/image" Target="../media/image65.png"/><Relationship Id="rId10" Type="http://schemas.openxmlformats.org/officeDocument/2006/relationships/image" Target="../media/image56.png"/><Relationship Id="rId4" Type="http://schemas.openxmlformats.org/officeDocument/2006/relationships/image" Target="../media/image103.png"/><Relationship Id="rId9" Type="http://schemas.openxmlformats.org/officeDocument/2006/relationships/image" Target="../media/image55.png"/><Relationship Id="rId14" Type="http://schemas.openxmlformats.org/officeDocument/2006/relationships/image" Target="../media/image75.png"/></Relationships>
</file>

<file path=ppt/slides/_rels/slide51.xml.rels><?xml version="1.0" encoding="UTF-8" standalone="yes"?>
<Relationships xmlns="http://schemas.openxmlformats.org/package/2006/relationships"><Relationship Id="rId3" Type="http://schemas.openxmlformats.org/officeDocument/2006/relationships/hyperlink" Target="http://www3.weforum.org/docs/WEFUSA_QuantificationofCyberThreats_Report2015.pdf" TargetMode="External"/><Relationship Id="rId2" Type="http://schemas.openxmlformats.org/officeDocument/2006/relationships/image" Target="../media/image104.emf"/><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jpeg"/></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9700" y="1308546"/>
            <a:ext cx="6611112" cy="584775"/>
          </a:xfrm>
        </p:spPr>
        <p:txBody>
          <a:bodyPr/>
          <a:lstStyle/>
          <a:p>
            <a:r>
              <a:rPr lang="en-US" dirty="0"/>
              <a:t>Cybersecurity Data Science</a:t>
            </a:r>
          </a:p>
        </p:txBody>
      </p:sp>
      <p:sp>
        <p:nvSpPr>
          <p:cNvPr id="3" name="Text Placeholder 2"/>
          <p:cNvSpPr>
            <a:spLocks noGrp="1"/>
          </p:cNvSpPr>
          <p:nvPr>
            <p:ph type="body" sz="quarter" idx="13"/>
          </p:nvPr>
        </p:nvSpPr>
        <p:spPr>
          <a:xfrm>
            <a:off x="1629700" y="1860912"/>
            <a:ext cx="6611112" cy="409023"/>
          </a:xfrm>
        </p:spPr>
        <p:txBody>
          <a:bodyPr/>
          <a:lstStyle/>
          <a:p>
            <a:r>
              <a:rPr lang="en-US" sz="2400" dirty="0"/>
              <a:t>Best Practices from the Field</a:t>
            </a:r>
          </a:p>
        </p:txBody>
      </p:sp>
      <p:sp>
        <p:nvSpPr>
          <p:cNvPr id="4" name="TextBox 3">
            <a:extLst>
              <a:ext uri="{FF2B5EF4-FFF2-40B4-BE49-F238E27FC236}">
                <a16:creationId xmlns:a16="http://schemas.microsoft.com/office/drawing/2014/main" xmlns="" id="{2A80617B-E699-4BB3-A80D-4896EBFC28E5}"/>
              </a:ext>
            </a:extLst>
          </p:cNvPr>
          <p:cNvSpPr txBox="1"/>
          <p:nvPr/>
        </p:nvSpPr>
        <p:spPr>
          <a:xfrm>
            <a:off x="1831674" y="2329036"/>
            <a:ext cx="4859920" cy="1708160"/>
          </a:xfrm>
          <a:prstGeom prst="rect">
            <a:avLst/>
          </a:prstGeom>
          <a:noFill/>
        </p:spPr>
        <p:txBody>
          <a:bodyPr wrap="none" rtlCol="0">
            <a:spAutoFit/>
          </a:bodyPr>
          <a:lstStyle/>
          <a:p>
            <a:r>
              <a:rPr lang="en-US" sz="1600" dirty="0">
                <a:solidFill>
                  <a:schemeClr val="bg1"/>
                </a:solidFill>
              </a:rPr>
              <a:t>Scott Allen Mongeau</a:t>
            </a:r>
          </a:p>
          <a:p>
            <a:r>
              <a:rPr lang="en-US" sz="1600" b="1" dirty="0">
                <a:solidFill>
                  <a:schemeClr val="bg1"/>
                </a:solidFill>
              </a:rPr>
              <a:t>scott.mongeau@sas.com </a:t>
            </a:r>
          </a:p>
          <a:p>
            <a:endParaRPr lang="en-US" sz="100" dirty="0">
              <a:solidFill>
                <a:schemeClr val="bg1"/>
              </a:solidFill>
            </a:endParaRPr>
          </a:p>
          <a:p>
            <a:endParaRPr lang="en-US" sz="600" dirty="0">
              <a:solidFill>
                <a:schemeClr val="bg1"/>
              </a:solidFill>
            </a:endParaRPr>
          </a:p>
          <a:p>
            <a:r>
              <a:rPr lang="en-US" sz="1600" dirty="0">
                <a:solidFill>
                  <a:schemeClr val="bg1"/>
                </a:solidFill>
              </a:rPr>
              <a:t>Cybersecurity Data Scientist – SAS Institute</a:t>
            </a:r>
          </a:p>
          <a:p>
            <a:r>
              <a:rPr lang="en-US" sz="1600" dirty="0">
                <a:solidFill>
                  <a:schemeClr val="bg1"/>
                </a:solidFill>
              </a:rPr>
              <a:t>Lecturer / PhD candidate – Nyenrode Business University</a:t>
            </a:r>
          </a:p>
          <a:p>
            <a:pPr>
              <a:tabLst>
                <a:tab pos="231775" algn="l"/>
                <a:tab pos="341313" algn="l"/>
              </a:tabLst>
            </a:pPr>
            <a:endParaRPr lang="en-US" sz="1400" dirty="0">
              <a:solidFill>
                <a:schemeClr val="bg1"/>
              </a:solidFill>
            </a:endParaRPr>
          </a:p>
          <a:p>
            <a:pPr>
              <a:tabLst>
                <a:tab pos="231775" algn="l"/>
                <a:tab pos="341313" algn="l"/>
              </a:tabLst>
            </a:pPr>
            <a:r>
              <a:rPr lang="en-US" sz="1600" dirty="0">
                <a:solidFill>
                  <a:schemeClr val="bg1"/>
                </a:solidFill>
              </a:rPr>
              <a:t>@SARK7  #CSDS2020 #FloCon19</a:t>
            </a:r>
          </a:p>
        </p:txBody>
      </p:sp>
      <p:sp>
        <p:nvSpPr>
          <p:cNvPr id="5" name="TextBox 4">
            <a:extLst>
              <a:ext uri="{FF2B5EF4-FFF2-40B4-BE49-F238E27FC236}">
                <a16:creationId xmlns:a16="http://schemas.microsoft.com/office/drawing/2014/main" xmlns="" id="{EBB1E817-2029-42CC-BD5A-950B0239BEF3}"/>
              </a:ext>
            </a:extLst>
          </p:cNvPr>
          <p:cNvSpPr txBox="1"/>
          <p:nvPr/>
        </p:nvSpPr>
        <p:spPr>
          <a:xfrm rot="5400000">
            <a:off x="7544423" y="2766419"/>
            <a:ext cx="2606804" cy="569387"/>
          </a:xfrm>
          <a:prstGeom prst="rect">
            <a:avLst/>
          </a:prstGeom>
          <a:noFill/>
        </p:spPr>
        <p:txBody>
          <a:bodyPr wrap="none" rtlCol="0">
            <a:spAutoFit/>
          </a:bodyPr>
          <a:lstStyle/>
          <a:p>
            <a:pPr algn="r"/>
            <a:r>
              <a:rPr lang="en-US" sz="700" dirty="0">
                <a:solidFill>
                  <a:srgbClr val="08649C"/>
                </a:solidFill>
              </a:rPr>
              <a:t>This presentation is non-commercial, for educational purposes only</a:t>
            </a:r>
          </a:p>
          <a:p>
            <a:pPr algn="r"/>
            <a:r>
              <a:rPr lang="en-US" sz="700" dirty="0">
                <a:solidFill>
                  <a:srgbClr val="08649C"/>
                </a:solidFill>
              </a:rPr>
              <a:t>All opinions herein are my own, not those of my employer</a:t>
            </a:r>
          </a:p>
          <a:p>
            <a:pPr algn="r"/>
            <a:r>
              <a:rPr lang="en-US" sz="700" dirty="0">
                <a:solidFill>
                  <a:srgbClr val="08649C"/>
                </a:solidFill>
              </a:rPr>
              <a:t>No rights claimed or implied to 3</a:t>
            </a:r>
            <a:r>
              <a:rPr lang="en-US" sz="700" baseline="30000" dirty="0">
                <a:solidFill>
                  <a:srgbClr val="08649C"/>
                </a:solidFill>
              </a:rPr>
              <a:t>rd</a:t>
            </a:r>
            <a:r>
              <a:rPr lang="en-US" sz="700" dirty="0">
                <a:solidFill>
                  <a:srgbClr val="08649C"/>
                </a:solidFill>
              </a:rPr>
              <a:t> party materials</a:t>
            </a:r>
          </a:p>
          <a:p>
            <a:pPr algn="r"/>
            <a:endParaRPr lang="en-US" sz="300" dirty="0">
              <a:solidFill>
                <a:srgbClr val="08649C"/>
              </a:solidFill>
            </a:endParaRPr>
          </a:p>
          <a:p>
            <a:pPr algn="r"/>
            <a:r>
              <a:rPr lang="en-US" sz="700" dirty="0">
                <a:solidFill>
                  <a:srgbClr val="08649C"/>
                </a:solidFill>
              </a:rPr>
              <a:t>Copyright © 2019 Scott Mongeau All rights reserved.</a:t>
            </a:r>
          </a:p>
        </p:txBody>
      </p:sp>
      <p:pic>
        <p:nvPicPr>
          <p:cNvPr id="6146" name="Picture 2" descr="Carnegie Mellon University | Software Engineering Institute">
            <a:extLst>
              <a:ext uri="{FF2B5EF4-FFF2-40B4-BE49-F238E27FC236}">
                <a16:creationId xmlns:a16="http://schemas.microsoft.com/office/drawing/2014/main" xmlns="" id="{28A39EA8-E83E-4C87-AAFC-C8D02A77D5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9921" y="493286"/>
            <a:ext cx="3458254" cy="613000"/>
          </a:xfrm>
          <a:prstGeom prst="rect">
            <a:avLst/>
          </a:prstGeom>
          <a:solidFill>
            <a:schemeClr val="bg1"/>
          </a:solidFill>
          <a:ln>
            <a:solidFill>
              <a:schemeClr val="accent3"/>
            </a:solidFill>
          </a:ln>
          <a:effectLst>
            <a:outerShdw blurRad="63500" sx="102000" sy="102000" algn="ctr" rotWithShape="0">
              <a:prstClr val="black">
                <a:alpha val="40000"/>
              </a:prstClr>
            </a:outerShdw>
          </a:effectLst>
        </p:spPr>
      </p:pic>
      <p:pic>
        <p:nvPicPr>
          <p:cNvPr id="9" name="Picture 8">
            <a:extLst>
              <a:ext uri="{FF2B5EF4-FFF2-40B4-BE49-F238E27FC236}">
                <a16:creationId xmlns:a16="http://schemas.microsoft.com/office/drawing/2014/main" xmlns="" id="{171A71C9-16EE-4563-AD2A-5DCF74C5A69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793140" y="4354514"/>
            <a:ext cx="4705760" cy="788986"/>
          </a:xfrm>
          <a:prstGeom prst="rect">
            <a:avLst/>
          </a:prstGeom>
        </p:spPr>
      </p:pic>
      <p:pic>
        <p:nvPicPr>
          <p:cNvPr id="11" name="Picture 10">
            <a:extLst>
              <a:ext uri="{FF2B5EF4-FFF2-40B4-BE49-F238E27FC236}">
                <a16:creationId xmlns:a16="http://schemas.microsoft.com/office/drawing/2014/main" xmlns="" id="{0300919A-B72E-4A92-92C1-7E97B1FB753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flipH="1">
            <a:off x="6498900" y="4354514"/>
            <a:ext cx="1236714" cy="788986"/>
          </a:xfrm>
          <a:prstGeom prst="rect">
            <a:avLst/>
          </a:prstGeom>
        </p:spPr>
      </p:pic>
      <p:pic>
        <p:nvPicPr>
          <p:cNvPr id="12" name="Picture 11">
            <a:extLst>
              <a:ext uri="{FF2B5EF4-FFF2-40B4-BE49-F238E27FC236}">
                <a16:creationId xmlns:a16="http://schemas.microsoft.com/office/drawing/2014/main" xmlns="" id="{115447E1-1322-4D65-9A7E-1F8F854E095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H="1">
            <a:off x="-1" y="4354514"/>
            <a:ext cx="1792014" cy="788986"/>
          </a:xfrm>
          <a:prstGeom prst="rect">
            <a:avLst/>
          </a:prstGeom>
        </p:spPr>
      </p:pic>
    </p:spTree>
    <p:extLst>
      <p:ext uri="{BB962C8B-B14F-4D97-AF65-F5344CB8AC3E}">
        <p14:creationId xmlns:p14="http://schemas.microsoft.com/office/powerpoint/2010/main" val="20576663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hype">
            <a:extLst>
              <a:ext uri="{FF2B5EF4-FFF2-40B4-BE49-F238E27FC236}">
                <a16:creationId xmlns:a16="http://schemas.microsoft.com/office/drawing/2014/main" xmlns="" id="{9FE6C35B-D2F7-4179-A389-90D999414B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7378" y="566928"/>
            <a:ext cx="5806966" cy="45765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xmlns="" id="{CE344FC1-8D5F-4241-AFF1-61B5B8762566}"/>
              </a:ext>
            </a:extLst>
          </p:cNvPr>
          <p:cNvSpPr>
            <a:spLocks noGrp="1"/>
          </p:cNvSpPr>
          <p:nvPr>
            <p:ph type="title"/>
          </p:nvPr>
        </p:nvSpPr>
        <p:spPr>
          <a:xfrm>
            <a:off x="626364" y="189607"/>
            <a:ext cx="7891272" cy="457200"/>
          </a:xfrm>
        </p:spPr>
        <p:txBody>
          <a:bodyPr/>
          <a:lstStyle/>
          <a:p>
            <a:r>
              <a:rPr lang="en-US" sz="3600" b="1" u="sng" dirty="0">
                <a:latin typeface="Arial" panose="020B0604020202020204" pitchFamily="34" charset="0"/>
                <a:cs typeface="Arial" panose="020B0604020202020204" pitchFamily="34" charset="0"/>
              </a:rPr>
              <a:t>2019</a:t>
            </a:r>
            <a:r>
              <a:rPr lang="en-US" sz="3600" b="1" dirty="0">
                <a:latin typeface="Arial" panose="020B0604020202020204" pitchFamily="34" charset="0"/>
                <a:cs typeface="Arial" panose="020B0604020202020204" pitchFamily="34" charset="0"/>
              </a:rPr>
              <a:t>: Drowning in Data Lakes</a:t>
            </a:r>
          </a:p>
        </p:txBody>
      </p:sp>
      <p:sp>
        <p:nvSpPr>
          <p:cNvPr id="5" name="Rectangle 4">
            <a:extLst>
              <a:ext uri="{FF2B5EF4-FFF2-40B4-BE49-F238E27FC236}">
                <a16:creationId xmlns:a16="http://schemas.microsoft.com/office/drawing/2014/main" xmlns="" id="{59DFD84E-A522-47DB-9939-EF6FFF437C86}"/>
              </a:ext>
            </a:extLst>
          </p:cNvPr>
          <p:cNvSpPr/>
          <p:nvPr/>
        </p:nvSpPr>
        <p:spPr>
          <a:xfrm rot="16200000">
            <a:off x="-351823" y="2034478"/>
            <a:ext cx="4009108" cy="2052733"/>
          </a:xfrm>
          <a:prstGeom prst="rect">
            <a:avLst/>
          </a:prstGeom>
          <a:noFill/>
        </p:spPr>
        <p:txBody>
          <a:bodyPr wrap="none" lIns="91440" tIns="45720" rIns="91440" bIns="45720">
            <a:prstTxWarp prst="textChevron">
              <a:avLst/>
            </a:prstTxWarp>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Vendor Hype</a:t>
            </a:r>
          </a:p>
        </p:txBody>
      </p:sp>
    </p:spTree>
    <p:extLst>
      <p:ext uri="{BB962C8B-B14F-4D97-AF65-F5344CB8AC3E}">
        <p14:creationId xmlns:p14="http://schemas.microsoft.com/office/powerpoint/2010/main" val="125874372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AD6D2B-5953-4168-8849-F7EA837AB54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xmlns="" id="{F0E1C257-1BAB-4C6B-B83C-B5BDA2928759}"/>
              </a:ext>
            </a:extLst>
          </p:cNvPr>
          <p:cNvSpPr>
            <a:spLocks noGrp="1"/>
          </p:cNvSpPr>
          <p:nvPr>
            <p:ph type="body" sz="quarter" idx="12"/>
          </p:nvPr>
        </p:nvSpPr>
        <p:spPr/>
        <p:txBody>
          <a:bodyPr/>
          <a:lstStyle/>
          <a:p>
            <a:endParaRPr lang="en-US"/>
          </a:p>
        </p:txBody>
      </p:sp>
      <p:sp>
        <p:nvSpPr>
          <p:cNvPr id="4" name="Content Placeholder 3">
            <a:extLst>
              <a:ext uri="{FF2B5EF4-FFF2-40B4-BE49-F238E27FC236}">
                <a16:creationId xmlns:a16="http://schemas.microsoft.com/office/drawing/2014/main" xmlns="" id="{BAA6C4E7-46E7-4056-9B39-05BFA78270A5}"/>
              </a:ext>
            </a:extLst>
          </p:cNvPr>
          <p:cNvSpPr>
            <a:spLocks noGrp="1"/>
          </p:cNvSpPr>
          <p:nvPr>
            <p:ph sz="quarter" idx="11"/>
          </p:nvPr>
        </p:nvSpPr>
        <p:spPr/>
        <p:txBody>
          <a:bodyPr/>
          <a:lstStyle/>
          <a:p>
            <a:endParaRPr lang="en-US"/>
          </a:p>
        </p:txBody>
      </p:sp>
      <p:pic>
        <p:nvPicPr>
          <p:cNvPr id="2050" name="Picture 2" descr="Image result for one does not simply kings landing">
            <a:extLst>
              <a:ext uri="{FF2B5EF4-FFF2-40B4-BE49-F238E27FC236}">
                <a16:creationId xmlns:a16="http://schemas.microsoft.com/office/drawing/2014/main" xmlns="" id="{ADFA749A-1ABD-4C31-8E84-FD01B62690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xmlns="" id="{4A16A1AE-4D57-4637-8F27-EC9D094CF2B3}"/>
              </a:ext>
            </a:extLst>
          </p:cNvPr>
          <p:cNvSpPr txBox="1"/>
          <p:nvPr/>
        </p:nvSpPr>
        <p:spPr>
          <a:xfrm>
            <a:off x="1091308" y="2893"/>
            <a:ext cx="7426328" cy="646331"/>
          </a:xfrm>
          <a:prstGeom prst="rect">
            <a:avLst/>
          </a:prstGeom>
          <a:noFill/>
        </p:spPr>
        <p:txBody>
          <a:bodyPr wrap="none" rtlCol="0">
            <a:spAutoFit/>
          </a:bodyPr>
          <a:lstStyle/>
          <a:p>
            <a:r>
              <a:rPr lang="en-US" sz="3600" b="1" u="sng"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9</a:t>
            </a:r>
            <a:r>
              <a:rPr lang="en-US" sz="3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ONE DOES NOT SIMPLY…</a:t>
            </a:r>
          </a:p>
        </p:txBody>
      </p:sp>
      <p:sp>
        <p:nvSpPr>
          <p:cNvPr id="7" name="TextBox 6">
            <a:extLst>
              <a:ext uri="{FF2B5EF4-FFF2-40B4-BE49-F238E27FC236}">
                <a16:creationId xmlns:a16="http://schemas.microsoft.com/office/drawing/2014/main" xmlns="" id="{9CD53EE0-D0BB-4373-9B21-E0F37F9339B7}"/>
              </a:ext>
            </a:extLst>
          </p:cNvPr>
          <p:cNvSpPr txBox="1"/>
          <p:nvPr/>
        </p:nvSpPr>
        <p:spPr>
          <a:xfrm>
            <a:off x="189999" y="4537424"/>
            <a:ext cx="9015673" cy="492443"/>
          </a:xfrm>
          <a:prstGeom prst="rect">
            <a:avLst/>
          </a:prstGeom>
          <a:noFill/>
        </p:spPr>
        <p:txBody>
          <a:bodyPr wrap="none" rtlCol="0">
            <a:spAutoFit/>
          </a:bodyPr>
          <a:lstStyle/>
          <a:p>
            <a:r>
              <a:rPr lang="en-US" sz="2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USH A DEEP LEARNING MODEL TO PRODUCTION” </a:t>
            </a:r>
          </a:p>
        </p:txBody>
      </p:sp>
    </p:spTree>
    <p:extLst>
      <p:ext uri="{BB962C8B-B14F-4D97-AF65-F5344CB8AC3E}">
        <p14:creationId xmlns:p14="http://schemas.microsoft.com/office/powerpoint/2010/main" val="40714034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xmlns="" id="{D9AE6A56-E475-4967-93D1-031BDCD336B3}"/>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2023205" y="214457"/>
            <a:ext cx="6842271" cy="4714585"/>
          </a:xfrm>
        </p:spPr>
      </p:pic>
      <p:sp>
        <p:nvSpPr>
          <p:cNvPr id="2" name="TextBox 1">
            <a:extLst>
              <a:ext uri="{FF2B5EF4-FFF2-40B4-BE49-F238E27FC236}">
                <a16:creationId xmlns:a16="http://schemas.microsoft.com/office/drawing/2014/main" xmlns="" id="{0914AE45-EC18-4F82-B897-4B91EF375366}"/>
              </a:ext>
            </a:extLst>
          </p:cNvPr>
          <p:cNvSpPr txBox="1"/>
          <p:nvPr/>
        </p:nvSpPr>
        <p:spPr>
          <a:xfrm>
            <a:off x="278524" y="0"/>
            <a:ext cx="2084225" cy="2646878"/>
          </a:xfrm>
          <a:prstGeom prst="rect">
            <a:avLst/>
          </a:prstGeom>
          <a:noFill/>
        </p:spPr>
        <p:txBody>
          <a:bodyPr wrap="none" rtlCol="0">
            <a:spAutoFit/>
          </a:bodyPr>
          <a:lstStyle/>
          <a:p>
            <a:r>
              <a:rPr lang="en-US" sz="5400" b="1" u="sng" dirty="0">
                <a:latin typeface="Arial" panose="020B0604020202020204" pitchFamily="34" charset="0"/>
                <a:cs typeface="Arial" panose="020B0604020202020204" pitchFamily="34" charset="0"/>
              </a:rPr>
              <a:t>2019</a:t>
            </a:r>
          </a:p>
          <a:p>
            <a:r>
              <a:rPr lang="en-US" sz="2800" b="1" dirty="0">
                <a:latin typeface="Arial" panose="020B0604020202020204" pitchFamily="34" charset="0"/>
                <a:cs typeface="Arial" panose="020B0604020202020204" pitchFamily="34" charset="0"/>
              </a:rPr>
              <a:t>But…</a:t>
            </a:r>
          </a:p>
          <a:p>
            <a:r>
              <a:rPr lang="en-US" sz="2800" b="1" dirty="0">
                <a:latin typeface="Arial" panose="020B0604020202020204" pitchFamily="34" charset="0"/>
                <a:cs typeface="Arial" panose="020B0604020202020204" pitchFamily="34" charset="0"/>
              </a:rPr>
              <a:t>substantial</a:t>
            </a:r>
          </a:p>
          <a:p>
            <a:r>
              <a:rPr lang="en-US" sz="2800" b="1" dirty="0">
                <a:latin typeface="Arial" panose="020B0604020202020204" pitchFamily="34" charset="0"/>
                <a:cs typeface="Arial" panose="020B0604020202020204" pitchFamily="34" charset="0"/>
              </a:rPr>
              <a:t>issues</a:t>
            </a:r>
          </a:p>
          <a:p>
            <a:r>
              <a:rPr lang="en-US" sz="2800" b="1" dirty="0">
                <a:latin typeface="Arial" panose="020B0604020202020204" pitchFamily="34" charset="0"/>
                <a:cs typeface="Arial" panose="020B0604020202020204" pitchFamily="34" charset="0"/>
              </a:rPr>
              <a:t>grow</a:t>
            </a:r>
          </a:p>
        </p:txBody>
      </p:sp>
    </p:spTree>
    <p:extLst>
      <p:ext uri="{BB962C8B-B14F-4D97-AF65-F5344CB8AC3E}">
        <p14:creationId xmlns:p14="http://schemas.microsoft.com/office/powerpoint/2010/main" val="17985910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BB3EB412-ADD0-4785-835D-74F14F7EE1C4}" type="slidenum">
              <a:rPr lang="en-US" smtClean="0"/>
              <a:pPr/>
              <a:t>13</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0"/>
            <a:ext cx="6858000" cy="5143500"/>
          </a:xfrm>
          <a:prstGeom prst="rect">
            <a:avLst/>
          </a:prstGeom>
        </p:spPr>
      </p:pic>
      <p:sp>
        <p:nvSpPr>
          <p:cNvPr id="4" name="Title 1"/>
          <p:cNvSpPr>
            <a:spLocks noGrp="1"/>
          </p:cNvSpPr>
          <p:nvPr>
            <p:ph type="title"/>
          </p:nvPr>
        </p:nvSpPr>
        <p:spPr>
          <a:xfrm>
            <a:off x="1035310" y="88734"/>
            <a:ext cx="7073379" cy="420759"/>
          </a:xfrm>
        </p:spPr>
        <p:txBody>
          <a:bodyPr/>
          <a:lstStyle/>
          <a:p>
            <a:pPr algn="ctr"/>
            <a:r>
              <a:rPr lang="en-US" sz="3800" b="1" u="sng" dirty="0">
                <a:ln w="0"/>
                <a:solidFill>
                  <a:schemeClr val="accent3">
                    <a:lumMod val="90000"/>
                    <a:lumOff val="10000"/>
                  </a:schemeClr>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2019</a:t>
            </a:r>
            <a:r>
              <a:rPr lang="en-US" sz="3800" b="1" dirty="0">
                <a:ln w="0"/>
                <a:solidFill>
                  <a:schemeClr val="accent3">
                    <a:lumMod val="90000"/>
                    <a:lumOff val="10000"/>
                  </a:schemeClr>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Reactive militarization</a:t>
            </a:r>
          </a:p>
        </p:txBody>
      </p:sp>
    </p:spTree>
    <p:extLst>
      <p:ext uri="{BB962C8B-B14F-4D97-AF65-F5344CB8AC3E}">
        <p14:creationId xmlns:p14="http://schemas.microsoft.com/office/powerpoint/2010/main" val="12778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743B1442-6F68-4F68-86A7-1B77C29303F2}"/>
              </a:ext>
            </a:extLst>
          </p:cNvPr>
          <p:cNvSpPr txBox="1"/>
          <p:nvPr/>
        </p:nvSpPr>
        <p:spPr>
          <a:xfrm>
            <a:off x="150815" y="131275"/>
            <a:ext cx="2339102" cy="2677656"/>
          </a:xfrm>
          <a:prstGeom prst="rect">
            <a:avLst/>
          </a:prstGeom>
          <a:noFill/>
        </p:spPr>
        <p:txBody>
          <a:bodyPr wrap="none" rtlCol="0">
            <a:spAutoFit/>
          </a:bodyPr>
          <a:lstStyle/>
          <a:p>
            <a:r>
              <a:rPr lang="en-US" sz="2800" b="1" u="sng"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9</a:t>
            </a:r>
          </a:p>
          <a:p>
            <a:r>
              <a:rPr lang="en-US" sz="2800" b="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SDS</a:t>
            </a:r>
          </a:p>
          <a:p>
            <a:r>
              <a:rPr lang="en-US" sz="2800" b="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yber</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curity</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Data</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cience</a:t>
            </a:r>
          </a:p>
        </p:txBody>
      </p:sp>
      <p:pic>
        <p:nvPicPr>
          <p:cNvPr id="7" name="Picture 6">
            <a:extLst>
              <a:ext uri="{FF2B5EF4-FFF2-40B4-BE49-F238E27FC236}">
                <a16:creationId xmlns:a16="http://schemas.microsoft.com/office/drawing/2014/main" xmlns="" id="{F42AAA2A-731A-4D54-BFB5-345D7C8C79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4315" y="203346"/>
            <a:ext cx="4928098" cy="4675551"/>
          </a:xfrm>
          <a:prstGeom prst="rect">
            <a:avLst/>
          </a:prstGeom>
        </p:spPr>
      </p:pic>
      <p:sp>
        <p:nvSpPr>
          <p:cNvPr id="6" name="Rectangle: Rounded Corners 5">
            <a:extLst>
              <a:ext uri="{FF2B5EF4-FFF2-40B4-BE49-F238E27FC236}">
                <a16:creationId xmlns:a16="http://schemas.microsoft.com/office/drawing/2014/main" xmlns="" id="{3B5ADC2F-AC1F-483D-81F7-CDB85F011B27}"/>
              </a:ext>
            </a:extLst>
          </p:cNvPr>
          <p:cNvSpPr/>
          <p:nvPr/>
        </p:nvSpPr>
        <p:spPr>
          <a:xfrm>
            <a:off x="540605" y="3979366"/>
            <a:ext cx="2616820" cy="899531"/>
          </a:xfrm>
          <a:prstGeom prst="round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latin typeface="Arial" panose="020B0604020202020204" pitchFamily="34" charset="0"/>
                <a:cs typeface="Arial" panose="020B0604020202020204" pitchFamily="34" charset="0"/>
              </a:rPr>
              <a:t>CYBERSECURITY</a:t>
            </a:r>
          </a:p>
          <a:p>
            <a:pPr algn="ctr"/>
            <a:r>
              <a:rPr lang="en-US" sz="2000" b="1" dirty="0">
                <a:solidFill>
                  <a:schemeClr val="bg1"/>
                </a:solidFill>
                <a:latin typeface="Arial" panose="020B0604020202020204" pitchFamily="34" charset="0"/>
                <a:cs typeface="Arial" panose="020B0604020202020204" pitchFamily="34" charset="0"/>
              </a:rPr>
              <a:t>GOALS</a:t>
            </a:r>
          </a:p>
        </p:txBody>
      </p:sp>
      <p:sp>
        <p:nvSpPr>
          <p:cNvPr id="8" name="Rectangle: Rounded Corners 7">
            <a:extLst>
              <a:ext uri="{FF2B5EF4-FFF2-40B4-BE49-F238E27FC236}">
                <a16:creationId xmlns:a16="http://schemas.microsoft.com/office/drawing/2014/main" xmlns="" id="{A644C255-F47B-4B70-8169-A1EABC005F18}"/>
              </a:ext>
            </a:extLst>
          </p:cNvPr>
          <p:cNvSpPr/>
          <p:nvPr/>
        </p:nvSpPr>
        <p:spPr>
          <a:xfrm>
            <a:off x="6774905" y="59204"/>
            <a:ext cx="2218280" cy="899531"/>
          </a:xfrm>
          <a:prstGeom prst="round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latin typeface="Arial" panose="020B0604020202020204" pitchFamily="34" charset="0"/>
                <a:cs typeface="Arial" panose="020B0604020202020204" pitchFamily="34" charset="0"/>
              </a:rPr>
              <a:t>DATA SCIENCE</a:t>
            </a:r>
          </a:p>
          <a:p>
            <a:pPr algn="ctr"/>
            <a:r>
              <a:rPr lang="en-US" sz="2000" b="1" dirty="0">
                <a:solidFill>
                  <a:schemeClr val="bg1"/>
                </a:solidFill>
                <a:latin typeface="Arial" panose="020B0604020202020204" pitchFamily="34" charset="0"/>
                <a:cs typeface="Arial" panose="020B0604020202020204" pitchFamily="34" charset="0"/>
              </a:rPr>
              <a:t>METHODS</a:t>
            </a:r>
          </a:p>
        </p:txBody>
      </p:sp>
      <p:sp>
        <p:nvSpPr>
          <p:cNvPr id="9" name="Arrow: Up 8">
            <a:extLst>
              <a:ext uri="{FF2B5EF4-FFF2-40B4-BE49-F238E27FC236}">
                <a16:creationId xmlns:a16="http://schemas.microsoft.com/office/drawing/2014/main" xmlns="" id="{CC3A3BDF-5A47-4FA8-9226-4FBDACD67A2F}"/>
              </a:ext>
            </a:extLst>
          </p:cNvPr>
          <p:cNvSpPr/>
          <p:nvPr/>
        </p:nvSpPr>
        <p:spPr>
          <a:xfrm rot="3282806">
            <a:off x="1976145" y="3299190"/>
            <a:ext cx="826076" cy="850300"/>
          </a:xfrm>
          <a:prstGeom prst="upArrow">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0" name="Arrow: Up 9">
            <a:extLst>
              <a:ext uri="{FF2B5EF4-FFF2-40B4-BE49-F238E27FC236}">
                <a16:creationId xmlns:a16="http://schemas.microsoft.com/office/drawing/2014/main" xmlns="" id="{70C65BD7-3358-4988-A56D-1F1306E707A7}"/>
              </a:ext>
            </a:extLst>
          </p:cNvPr>
          <p:cNvSpPr/>
          <p:nvPr/>
        </p:nvSpPr>
        <p:spPr>
          <a:xfrm rot="13619303">
            <a:off x="7199922" y="839019"/>
            <a:ext cx="826076" cy="850300"/>
          </a:xfrm>
          <a:prstGeom prst="upArrow">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860218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 presetClass="entr" presetSubtype="1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2"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2" presetClass="entr" presetSubtype="3"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0-#ppt_h/2"/>
                                          </p:val>
                                        </p:tav>
                                        <p:tav tm="100000">
                                          <p:val>
                                            <p:strVal val="#ppt_y"/>
                                          </p:val>
                                        </p:tav>
                                      </p:tavLst>
                                    </p:anim>
                                  </p:childTnLst>
                                </p:cTn>
                              </p:par>
                              <p:par>
                                <p:cTn id="22" presetID="2" presetClass="entr" presetSubtype="3"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1+#ppt_w/2"/>
                                          </p:val>
                                        </p:tav>
                                        <p:tav tm="100000">
                                          <p:val>
                                            <p:strVal val="#ppt_x"/>
                                          </p:val>
                                        </p:tav>
                                      </p:tavLst>
                                    </p:anim>
                                    <p:anim calcmode="lin" valueType="num">
                                      <p:cBhvr additive="base">
                                        <p:cTn id="25" dur="500" fill="hold"/>
                                        <p:tgtEl>
                                          <p:spTgt spid="10"/>
                                        </p:tgtEl>
                                        <p:attrNameLst>
                                          <p:attrName>ppt_y</p:attrName>
                                        </p:attrNameLst>
                                      </p:cBhvr>
                                      <p:tavLst>
                                        <p:tav tm="0">
                                          <p:val>
                                            <p:strVal val="0-#ppt_h/2"/>
                                          </p:val>
                                        </p:tav>
                                        <p:tav tm="100000">
                                          <p:val>
                                            <p:strVal val="#ppt_y"/>
                                          </p:val>
                                        </p:tav>
                                      </p:tavLst>
                                    </p:anim>
                                  </p:childTnLst>
                                </p:cTn>
                              </p:par>
                            </p:childTnLst>
                          </p:cTn>
                        </p:par>
                        <p:par>
                          <p:cTn id="26" fill="hold">
                            <p:stCondLst>
                              <p:cond delay="1500"/>
                            </p:stCondLst>
                            <p:childTnLst>
                              <p:par>
                                <p:cTn id="27" presetID="6" presetClass="entr" presetSubtype="32"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circle(out)">
                                      <p:cBhvr>
                                        <p:cTn id="29" dur="1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743B1442-6F68-4F68-86A7-1B77C29303F2}"/>
              </a:ext>
            </a:extLst>
          </p:cNvPr>
          <p:cNvSpPr txBox="1"/>
          <p:nvPr/>
        </p:nvSpPr>
        <p:spPr>
          <a:xfrm>
            <a:off x="150815" y="131275"/>
            <a:ext cx="2339102" cy="2677656"/>
          </a:xfrm>
          <a:prstGeom prst="rect">
            <a:avLst/>
          </a:prstGeom>
          <a:noFill/>
        </p:spPr>
        <p:txBody>
          <a:bodyPr wrap="none" rtlCol="0">
            <a:spAutoFit/>
          </a:bodyPr>
          <a:lstStyle/>
          <a:p>
            <a:r>
              <a:rPr lang="en-US" sz="2800" b="1" u="sng"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9</a:t>
            </a:r>
          </a:p>
          <a:p>
            <a:r>
              <a:rPr lang="en-US" sz="2800" b="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SDS</a:t>
            </a:r>
          </a:p>
          <a:p>
            <a:r>
              <a:rPr lang="en-US" sz="2800" b="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yber</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ecurity</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Data</a:t>
            </a:r>
          </a:p>
          <a:p>
            <a:r>
              <a:rPr lang="en-US" sz="2800" b="1" i="1" dirty="0">
                <a:solidFill>
                  <a:schemeClr val="accent3"/>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cience</a:t>
            </a:r>
          </a:p>
        </p:txBody>
      </p:sp>
      <p:pic>
        <p:nvPicPr>
          <p:cNvPr id="7" name="Picture 6">
            <a:extLst>
              <a:ext uri="{FF2B5EF4-FFF2-40B4-BE49-F238E27FC236}">
                <a16:creationId xmlns:a16="http://schemas.microsoft.com/office/drawing/2014/main" xmlns="" id="{F42AAA2A-731A-4D54-BFB5-345D7C8C79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4315" y="203346"/>
            <a:ext cx="4928098" cy="4675551"/>
          </a:xfrm>
          <a:prstGeom prst="rect">
            <a:avLst/>
          </a:prstGeom>
        </p:spPr>
      </p:pic>
      <p:sp>
        <p:nvSpPr>
          <p:cNvPr id="12" name="Content Placeholder 3">
            <a:extLst>
              <a:ext uri="{FF2B5EF4-FFF2-40B4-BE49-F238E27FC236}">
                <a16:creationId xmlns:a16="http://schemas.microsoft.com/office/drawing/2014/main" xmlns="" id="{2AABBCAF-0AD1-4095-9BCE-7E2A70B32BFE}"/>
              </a:ext>
            </a:extLst>
          </p:cNvPr>
          <p:cNvSpPr txBox="1">
            <a:spLocks/>
          </p:cNvSpPr>
          <p:nvPr/>
        </p:nvSpPr>
        <p:spPr>
          <a:xfrm>
            <a:off x="1269241" y="3389251"/>
            <a:ext cx="6794627" cy="1177854"/>
          </a:xfrm>
          <a:prstGeom prst="rect">
            <a:avLst/>
          </a:prstGeom>
        </p:spPr>
        <p:txBody>
          <a:bodyPr vert="horz" wrap="square" lIns="91440" tIns="45720" rIns="91440" bIns="45720" rtlCol="0" anchor="t" anchorCtr="0">
            <a:noAutofit/>
          </a:bodyPr>
          <a:lst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2400" b="1" dirty="0"/>
              <a:t>Rapid emergence</a:t>
            </a:r>
          </a:p>
          <a:p>
            <a:r>
              <a:rPr lang="en-US" sz="2400" b="1" dirty="0"/>
              <a:t>Early stages of professionalization</a:t>
            </a:r>
          </a:p>
          <a:p>
            <a:r>
              <a:rPr lang="en-US" sz="2400" b="1" dirty="0"/>
              <a:t>Affected by maturity of ‘data science’ more generally </a:t>
            </a:r>
          </a:p>
        </p:txBody>
      </p:sp>
      <p:sp>
        <p:nvSpPr>
          <p:cNvPr id="8" name="Content Placeholder 3">
            <a:extLst>
              <a:ext uri="{FF2B5EF4-FFF2-40B4-BE49-F238E27FC236}">
                <a16:creationId xmlns:a16="http://schemas.microsoft.com/office/drawing/2014/main" xmlns="" id="{9E822256-535E-4894-B2B8-97B05D10A4FC}"/>
              </a:ext>
            </a:extLst>
          </p:cNvPr>
          <p:cNvSpPr txBox="1">
            <a:spLocks/>
          </p:cNvSpPr>
          <p:nvPr/>
        </p:nvSpPr>
        <p:spPr>
          <a:xfrm>
            <a:off x="2616893" y="264603"/>
            <a:ext cx="4928098" cy="1177854"/>
          </a:xfrm>
          <a:prstGeom prst="rect">
            <a:avLst/>
          </a:prstGeom>
        </p:spPr>
        <p:txBody>
          <a:bodyPr vert="horz" wrap="square" lIns="91440" tIns="45720" rIns="91440" bIns="45720" rtlCol="0" anchor="t" anchorCtr="0">
            <a:noAutofit/>
          </a:bodyPr>
          <a:lst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pPr marL="0" indent="0" algn="ctr">
              <a:buNone/>
            </a:pPr>
            <a:r>
              <a:rPr lang="en-US" sz="2400" b="1" dirty="0"/>
              <a:t>Taking stock</a:t>
            </a:r>
          </a:p>
          <a:p>
            <a:pPr marL="0" indent="0" algn="ctr">
              <a:buNone/>
            </a:pPr>
            <a:r>
              <a:rPr lang="en-US" sz="2400" b="1" i="1" dirty="0"/>
              <a:t>“Data scientists and practitioners can talk past each other.”</a:t>
            </a:r>
          </a:p>
        </p:txBody>
      </p:sp>
    </p:spTree>
    <p:extLst>
      <p:ext uri="{BB962C8B-B14F-4D97-AF65-F5344CB8AC3E}">
        <p14:creationId xmlns:p14="http://schemas.microsoft.com/office/powerpoint/2010/main" val="2312037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600" fill="hold"/>
                                        <p:tgtEl>
                                          <p:spTgt spid="7"/>
                                        </p:tgtEl>
                                      </p:cBhvr>
                                      <p:by x="50000" y="50000"/>
                                    </p:animScale>
                                  </p:childTnLst>
                                </p:cTn>
                              </p:par>
                            </p:childTnLst>
                          </p:cTn>
                        </p:par>
                        <p:par>
                          <p:cTn id="7" fill="hold">
                            <p:stCondLst>
                              <p:cond delay="600"/>
                            </p:stCondLst>
                            <p:childTnLst>
                              <p:par>
                                <p:cTn id="8" presetID="10" presetClass="entr" presetSubtype="0" fill="hold" grpId="0" nodeType="after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11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xmlns="" id="{AEE39153-0A2A-4595-A1EB-2ABAA981A2BA}"/>
              </a:ext>
            </a:extLst>
          </p:cNvPr>
          <p:cNvCxnSpPr>
            <a:cxnSpLocks/>
          </p:cNvCxnSpPr>
          <p:nvPr/>
        </p:nvCxnSpPr>
        <p:spPr>
          <a:xfrm flipV="1">
            <a:off x="6750484" y="1493402"/>
            <a:ext cx="0" cy="126114"/>
          </a:xfrm>
          <a:prstGeom prst="line">
            <a:avLst/>
          </a:prstGeom>
          <a:ln w="25400">
            <a:solidFill>
              <a:schemeClr val="tx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xmlns="" id="{4AEEEC4E-637F-47EE-ABB4-E67B3F38D025}"/>
              </a:ext>
            </a:extLst>
          </p:cNvPr>
          <p:cNvCxnSpPr/>
          <p:nvPr/>
        </p:nvCxnSpPr>
        <p:spPr>
          <a:xfrm>
            <a:off x="5387928" y="1304091"/>
            <a:ext cx="124276" cy="0"/>
          </a:xfrm>
          <a:prstGeom prst="line">
            <a:avLst/>
          </a:prstGeom>
          <a:ln w="25400">
            <a:solidFill>
              <a:schemeClr val="tx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Line 6">
            <a:extLst>
              <a:ext uri="{FF2B5EF4-FFF2-40B4-BE49-F238E27FC236}">
                <a16:creationId xmlns:a16="http://schemas.microsoft.com/office/drawing/2014/main" xmlns="" id="{31A74421-3173-463A-80FF-8E3462A14B91}"/>
              </a:ext>
            </a:extLst>
          </p:cNvPr>
          <p:cNvSpPr>
            <a:spLocks noChangeShapeType="1"/>
          </p:cNvSpPr>
          <p:nvPr/>
        </p:nvSpPr>
        <p:spPr bwMode="auto">
          <a:xfrm flipV="1">
            <a:off x="1360931" y="723475"/>
            <a:ext cx="6000917" cy="3679812"/>
          </a:xfrm>
          <a:prstGeom prst="line">
            <a:avLst/>
          </a:prstGeom>
          <a:noFill/>
          <a:ln w="76200">
            <a:solidFill>
              <a:schemeClr val="accent1"/>
            </a:solidFill>
            <a:round/>
            <a:headEnd/>
            <a:tailEnd type="triangle" w="med" len="med"/>
          </a:ln>
        </p:spPr>
        <p:txBody>
          <a:bodyPr wrap="none" lIns="68567" tIns="34283" rIns="68567" bIns="34283" anchor="ctr"/>
          <a:lstStyle/>
          <a:p>
            <a:endParaRPr lang="en-GB" sz="4262" dirty="0"/>
          </a:p>
        </p:txBody>
      </p:sp>
      <p:sp>
        <p:nvSpPr>
          <p:cNvPr id="6" name="Line 6">
            <a:extLst>
              <a:ext uri="{FF2B5EF4-FFF2-40B4-BE49-F238E27FC236}">
                <a16:creationId xmlns:a16="http://schemas.microsoft.com/office/drawing/2014/main" xmlns="" id="{D17FC1CA-0DAC-4C9C-B596-D3EC4EB742AD}"/>
              </a:ext>
            </a:extLst>
          </p:cNvPr>
          <p:cNvSpPr>
            <a:spLocks noChangeShapeType="1"/>
          </p:cNvSpPr>
          <p:nvPr/>
        </p:nvSpPr>
        <p:spPr bwMode="auto">
          <a:xfrm>
            <a:off x="1334136" y="4426816"/>
            <a:ext cx="6101869" cy="15644"/>
          </a:xfrm>
          <a:prstGeom prst="line">
            <a:avLst/>
          </a:prstGeom>
          <a:noFill/>
          <a:ln w="76200">
            <a:solidFill>
              <a:schemeClr val="accent1"/>
            </a:solidFill>
            <a:round/>
            <a:headEnd/>
            <a:tailEnd type="triangle" w="med" len="med"/>
          </a:ln>
        </p:spPr>
        <p:txBody>
          <a:bodyPr wrap="none" lIns="68567" tIns="34283" rIns="68567" bIns="34283" anchor="ctr"/>
          <a:lstStyle/>
          <a:p>
            <a:endParaRPr lang="en-GB" sz="4262" dirty="0"/>
          </a:p>
        </p:txBody>
      </p:sp>
      <p:sp>
        <p:nvSpPr>
          <p:cNvPr id="7" name="Text Box 8">
            <a:extLst>
              <a:ext uri="{FF2B5EF4-FFF2-40B4-BE49-F238E27FC236}">
                <a16:creationId xmlns:a16="http://schemas.microsoft.com/office/drawing/2014/main" xmlns="" id="{68077F4F-F6B5-4658-A389-EB5735C28D16}"/>
              </a:ext>
            </a:extLst>
          </p:cNvPr>
          <p:cNvSpPr txBox="1">
            <a:spLocks noChangeArrowheads="1"/>
          </p:cNvSpPr>
          <p:nvPr/>
        </p:nvSpPr>
        <p:spPr bwMode="auto">
          <a:xfrm>
            <a:off x="3745136" y="4510432"/>
            <a:ext cx="1047537" cy="233896"/>
          </a:xfrm>
          <a:prstGeom prst="rect">
            <a:avLst/>
          </a:prstGeom>
          <a:solidFill>
            <a:schemeClr val="bg1">
              <a:lumMod val="95000"/>
            </a:schemeClr>
          </a:solidFill>
          <a:ln w="12700" algn="ctr">
            <a:solidFill>
              <a:schemeClr val="tx1"/>
            </a:solidFill>
            <a:miter lim="800000"/>
            <a:headEnd/>
            <a:tailEnd/>
          </a:ln>
          <a:effectLst>
            <a:outerShdw blurRad="63500" sx="102000" sy="102000" algn="ctr" rotWithShape="0">
              <a:prstClr val="black">
                <a:alpha val="40000"/>
              </a:prstClr>
            </a:outerShdw>
          </a:effectLst>
        </p:spPr>
        <p:txBody>
          <a:bodyPr wrap="square" lIns="68567" tIns="34283" rIns="68567" bIns="34283">
            <a:spAutoFit/>
          </a:bodyPr>
          <a:lstStyle/>
          <a:p>
            <a:pPr algn="ctr"/>
            <a:r>
              <a:rPr lang="en-GB" sz="1070" b="1" dirty="0">
                <a:solidFill>
                  <a:srgbClr val="000000"/>
                </a:solidFill>
                <a:latin typeface="Arial" panose="020B0604020202020204" pitchFamily="34" charset="0"/>
                <a:cs typeface="Arial" panose="020B0604020202020204" pitchFamily="34" charset="0"/>
              </a:rPr>
              <a:t>OVERHEAD</a:t>
            </a:r>
          </a:p>
        </p:txBody>
      </p:sp>
      <p:sp>
        <p:nvSpPr>
          <p:cNvPr id="8" name="Text Box 10">
            <a:extLst>
              <a:ext uri="{FF2B5EF4-FFF2-40B4-BE49-F238E27FC236}">
                <a16:creationId xmlns:a16="http://schemas.microsoft.com/office/drawing/2014/main" xmlns="" id="{FC90C9FF-8DB9-4A5F-AC46-33580B14D416}"/>
              </a:ext>
            </a:extLst>
          </p:cNvPr>
          <p:cNvSpPr txBox="1">
            <a:spLocks noChangeArrowheads="1"/>
          </p:cNvSpPr>
          <p:nvPr/>
        </p:nvSpPr>
        <p:spPr bwMode="auto">
          <a:xfrm>
            <a:off x="936133" y="4467122"/>
            <a:ext cx="459074" cy="233896"/>
          </a:xfrm>
          <a:prstGeom prst="rect">
            <a:avLst/>
          </a:prstGeom>
          <a:noFill/>
          <a:ln w="9525" algn="ctr">
            <a:noFill/>
            <a:miter lim="800000"/>
            <a:headEnd/>
            <a:tailEnd/>
          </a:ln>
        </p:spPr>
        <p:txBody>
          <a:bodyPr wrap="none" lIns="68567" tIns="34283" rIns="68567" bIns="34283">
            <a:spAutoFit/>
          </a:bodyPr>
          <a:lstStyle/>
          <a:p>
            <a:r>
              <a:rPr lang="en-GB" sz="1070" b="1" dirty="0">
                <a:solidFill>
                  <a:srgbClr val="002776"/>
                </a:solidFill>
                <a:latin typeface="Arial" panose="020B0604020202020204" pitchFamily="34" charset="0"/>
                <a:cs typeface="Arial" panose="020B0604020202020204" pitchFamily="34" charset="0"/>
              </a:rPr>
              <a:t>LOW</a:t>
            </a:r>
          </a:p>
        </p:txBody>
      </p:sp>
      <p:sp>
        <p:nvSpPr>
          <p:cNvPr id="9" name="Text Box 18">
            <a:extLst>
              <a:ext uri="{FF2B5EF4-FFF2-40B4-BE49-F238E27FC236}">
                <a16:creationId xmlns:a16="http://schemas.microsoft.com/office/drawing/2014/main" xmlns="" id="{74CBA127-7F90-442D-A23B-F9DE8B06F3D1}"/>
              </a:ext>
            </a:extLst>
          </p:cNvPr>
          <p:cNvSpPr txBox="1">
            <a:spLocks noChangeArrowheads="1"/>
          </p:cNvSpPr>
          <p:nvPr/>
        </p:nvSpPr>
        <p:spPr bwMode="auto">
          <a:xfrm rot="16200000">
            <a:off x="697756" y="2600663"/>
            <a:ext cx="935829" cy="233896"/>
          </a:xfrm>
          <a:prstGeom prst="rect">
            <a:avLst/>
          </a:prstGeom>
          <a:solidFill>
            <a:schemeClr val="bg1">
              <a:lumMod val="95000"/>
            </a:schemeClr>
          </a:solidFill>
          <a:ln w="12700" algn="ctr">
            <a:solidFill>
              <a:schemeClr val="tx1"/>
            </a:solidFill>
            <a:miter lim="800000"/>
            <a:headEnd/>
            <a:tailEnd/>
          </a:ln>
          <a:effectLst>
            <a:outerShdw blurRad="63500" sx="102000" sy="102000" algn="ctr" rotWithShape="0">
              <a:prstClr val="black">
                <a:alpha val="40000"/>
              </a:prstClr>
            </a:outerShdw>
          </a:effectLst>
        </p:spPr>
        <p:txBody>
          <a:bodyPr wrap="square" lIns="68567" tIns="34283" rIns="68567" bIns="34283">
            <a:spAutoFit/>
          </a:bodyPr>
          <a:lstStyle/>
          <a:p>
            <a:pPr marL="116907" indent="-116907" algn="ctr">
              <a:spcBef>
                <a:spcPct val="50000"/>
              </a:spcBef>
            </a:pPr>
            <a:r>
              <a:rPr lang="en-GB" sz="1070" b="1" dirty="0">
                <a:solidFill>
                  <a:srgbClr val="000000"/>
                </a:solidFill>
                <a:latin typeface="Arial" panose="020B0604020202020204" pitchFamily="34" charset="0"/>
                <a:cs typeface="Arial" panose="020B0604020202020204" pitchFamily="34" charset="0"/>
              </a:rPr>
              <a:t>VALUE</a:t>
            </a:r>
          </a:p>
        </p:txBody>
      </p:sp>
      <p:cxnSp>
        <p:nvCxnSpPr>
          <p:cNvPr id="10" name="Straight Arrow Connector 9">
            <a:extLst>
              <a:ext uri="{FF2B5EF4-FFF2-40B4-BE49-F238E27FC236}">
                <a16:creationId xmlns:a16="http://schemas.microsoft.com/office/drawing/2014/main" xmlns="" id="{0B0AC4DA-8D51-4DA6-8E95-4CE182595783}"/>
              </a:ext>
            </a:extLst>
          </p:cNvPr>
          <p:cNvCxnSpPr>
            <a:cxnSpLocks/>
          </p:cNvCxnSpPr>
          <p:nvPr/>
        </p:nvCxnSpPr>
        <p:spPr>
          <a:xfrm flipV="1">
            <a:off x="1355187" y="733534"/>
            <a:ext cx="0" cy="3733588"/>
          </a:xfrm>
          <a:prstGeom prst="straightConnector1">
            <a:avLst/>
          </a:prstGeom>
          <a:noFill/>
          <a:ln w="76200">
            <a:solidFill>
              <a:schemeClr val="accent1"/>
            </a:solidFill>
            <a:round/>
            <a:headEnd/>
            <a:tailEnd type="triangle" w="med" len="med"/>
          </a:ln>
        </p:spPr>
      </p:cxnSp>
      <p:sp>
        <p:nvSpPr>
          <p:cNvPr id="11" name="Text Box 10">
            <a:extLst>
              <a:ext uri="{FF2B5EF4-FFF2-40B4-BE49-F238E27FC236}">
                <a16:creationId xmlns:a16="http://schemas.microsoft.com/office/drawing/2014/main" xmlns="" id="{88373530-D57F-46C6-84C2-81C95D2274B4}"/>
              </a:ext>
            </a:extLst>
          </p:cNvPr>
          <p:cNvSpPr txBox="1">
            <a:spLocks noChangeArrowheads="1"/>
          </p:cNvSpPr>
          <p:nvPr/>
        </p:nvSpPr>
        <p:spPr bwMode="auto">
          <a:xfrm>
            <a:off x="6365382" y="4510432"/>
            <a:ext cx="483119" cy="233896"/>
          </a:xfrm>
          <a:prstGeom prst="rect">
            <a:avLst/>
          </a:prstGeom>
          <a:noFill/>
          <a:ln w="9525" algn="ctr">
            <a:noFill/>
            <a:miter lim="800000"/>
            <a:headEnd/>
            <a:tailEnd/>
          </a:ln>
        </p:spPr>
        <p:txBody>
          <a:bodyPr wrap="none" lIns="68567" tIns="34283" rIns="68567" bIns="34283">
            <a:spAutoFit/>
          </a:bodyPr>
          <a:lstStyle/>
          <a:p>
            <a:r>
              <a:rPr lang="en-GB" sz="1070" b="1" dirty="0">
                <a:solidFill>
                  <a:srgbClr val="002776"/>
                </a:solidFill>
                <a:latin typeface="Arial" panose="020B0604020202020204" pitchFamily="34" charset="0"/>
                <a:cs typeface="Arial" panose="020B0604020202020204" pitchFamily="34" charset="0"/>
              </a:rPr>
              <a:t>HIGH</a:t>
            </a:r>
          </a:p>
        </p:txBody>
      </p:sp>
      <p:grpSp>
        <p:nvGrpSpPr>
          <p:cNvPr id="12" name="Group 14">
            <a:extLst>
              <a:ext uri="{FF2B5EF4-FFF2-40B4-BE49-F238E27FC236}">
                <a16:creationId xmlns:a16="http://schemas.microsoft.com/office/drawing/2014/main" xmlns="" id="{F7D3D0DC-2C8C-475E-BC36-CB69E40E24F9}"/>
              </a:ext>
            </a:extLst>
          </p:cNvPr>
          <p:cNvGrpSpPr/>
          <p:nvPr/>
        </p:nvGrpSpPr>
        <p:grpSpPr>
          <a:xfrm>
            <a:off x="2599544" y="3171071"/>
            <a:ext cx="944174" cy="573717"/>
            <a:chOff x="-1717471" y="5106412"/>
            <a:chExt cx="1258899" cy="764956"/>
          </a:xfrm>
        </p:grpSpPr>
        <p:pic>
          <p:nvPicPr>
            <p:cNvPr id="13" name="Picture 2" descr="http://t0.gstatic.com/images?q=tbn:ANd9GcRa1cn1LqWd8_z2-P9iVVx9vp4RlMLnXKPX1CYl9DnJo1KPFW2Y">
              <a:extLst>
                <a:ext uri="{FF2B5EF4-FFF2-40B4-BE49-F238E27FC236}">
                  <a16:creationId xmlns:a16="http://schemas.microsoft.com/office/drawing/2014/main" xmlns="" id="{E6A8CB48-7B6E-4364-9D2C-9D2403437B6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7470" y="5106412"/>
              <a:ext cx="1258898" cy="764956"/>
            </a:xfrm>
            <a:prstGeom prst="rect">
              <a:avLst/>
            </a:prstGeom>
            <a:ln w="12700">
              <a:solidFill>
                <a:srgbClr val="000000"/>
              </a:solidFill>
            </a:ln>
            <a:effectLst>
              <a:outerShdw blurRad="292100" dist="63500" dir="2700000" algn="tl" rotWithShape="0">
                <a:prstClr val="black">
                  <a:alpha val="65000"/>
                </a:prstClr>
              </a:outerShdw>
            </a:effectLst>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xmlns="" id="{DBD94FAF-A0A0-471D-9118-14CE7ED598C9}"/>
                </a:ext>
              </a:extLst>
            </p:cNvPr>
            <p:cNvSpPr/>
            <p:nvPr/>
          </p:nvSpPr>
          <p:spPr>
            <a:xfrm>
              <a:off x="-1717471" y="5366848"/>
              <a:ext cx="1258899" cy="2741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0271" tIns="20271" rIns="20271" bIns="20271" rtlCol="0" anchor="ctr">
              <a:spAutoFit/>
            </a:bodyPr>
            <a:lstStyle/>
            <a:p>
              <a:pPr algn="ctr"/>
              <a:endParaRPr lang="en-GB" sz="1070" dirty="0" err="1">
                <a:solidFill>
                  <a:schemeClr val="tx2"/>
                </a:solidFill>
              </a:endParaRPr>
            </a:p>
          </p:txBody>
        </p:sp>
      </p:grpSp>
      <p:grpSp>
        <p:nvGrpSpPr>
          <p:cNvPr id="15" name="Group 18">
            <a:extLst>
              <a:ext uri="{FF2B5EF4-FFF2-40B4-BE49-F238E27FC236}">
                <a16:creationId xmlns:a16="http://schemas.microsoft.com/office/drawing/2014/main" xmlns="" id="{E72E6992-CF62-4DE7-8932-A4851C53C136}"/>
              </a:ext>
            </a:extLst>
          </p:cNvPr>
          <p:cNvGrpSpPr/>
          <p:nvPr/>
        </p:nvGrpSpPr>
        <p:grpSpPr>
          <a:xfrm>
            <a:off x="3496016" y="1985335"/>
            <a:ext cx="944174" cy="600796"/>
            <a:chOff x="-1658796" y="3794564"/>
            <a:chExt cx="1258898" cy="801061"/>
          </a:xfrm>
        </p:grpSpPr>
        <p:sp>
          <p:nvSpPr>
            <p:cNvPr id="16" name="TextBox 15">
              <a:extLst>
                <a:ext uri="{FF2B5EF4-FFF2-40B4-BE49-F238E27FC236}">
                  <a16:creationId xmlns:a16="http://schemas.microsoft.com/office/drawing/2014/main" xmlns="" id="{BFA19A6D-7049-481E-9C34-44B7CD60B781}"/>
                </a:ext>
              </a:extLst>
            </p:cNvPr>
            <p:cNvSpPr txBox="1"/>
            <p:nvPr/>
          </p:nvSpPr>
          <p:spPr>
            <a:xfrm>
              <a:off x="-1658796" y="3794564"/>
              <a:ext cx="1258898" cy="320468"/>
            </a:xfrm>
            <a:prstGeom prst="rect">
              <a:avLst/>
            </a:prstGeom>
            <a:noFill/>
            <a:ln>
              <a:noFill/>
            </a:ln>
          </p:spPr>
          <p:txBody>
            <a:bodyPr wrap="square" lIns="20271" tIns="20271" rIns="20271" bIns="20271" rtlCol="0">
              <a:spAutoFit/>
            </a:bodyPr>
            <a:lstStyle/>
            <a:p>
              <a:pPr algn="ctr"/>
              <a:endParaRPr lang="en-GB" sz="451" b="1" dirty="0">
                <a:solidFill>
                  <a:schemeClr val="tx2"/>
                </a:solidFill>
              </a:endParaRPr>
            </a:p>
            <a:p>
              <a:pPr algn="ctr"/>
              <a:endParaRPr lang="en-GB" sz="845" b="1" dirty="0">
                <a:solidFill>
                  <a:schemeClr val="tx2"/>
                </a:solidFill>
              </a:endParaRPr>
            </a:p>
          </p:txBody>
        </p:sp>
        <p:sp>
          <p:nvSpPr>
            <p:cNvPr id="17" name="Rectangle 16">
              <a:extLst>
                <a:ext uri="{FF2B5EF4-FFF2-40B4-BE49-F238E27FC236}">
                  <a16:creationId xmlns:a16="http://schemas.microsoft.com/office/drawing/2014/main" xmlns="" id="{76B9DAA0-CF3A-4E69-8C9F-8E5832B6442D}"/>
                </a:ext>
              </a:extLst>
            </p:cNvPr>
            <p:cNvSpPr/>
            <p:nvPr/>
          </p:nvSpPr>
          <p:spPr>
            <a:xfrm>
              <a:off x="-1658796" y="4321494"/>
              <a:ext cx="1258898" cy="2741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20271" tIns="20271" rIns="20271" bIns="20271" rtlCol="0" anchor="ctr">
              <a:spAutoFit/>
            </a:bodyPr>
            <a:lstStyle/>
            <a:p>
              <a:pPr algn="ctr"/>
              <a:endParaRPr lang="en-GB" sz="1070" dirty="0" err="1">
                <a:solidFill>
                  <a:schemeClr val="tx2"/>
                </a:solidFill>
              </a:endParaRPr>
            </a:p>
          </p:txBody>
        </p:sp>
      </p:grpSp>
      <p:pic>
        <p:nvPicPr>
          <p:cNvPr id="18" name="Picture 2" descr="C:\Users\mwesterdijk\Pictures\regressis.jpg">
            <a:extLst>
              <a:ext uri="{FF2B5EF4-FFF2-40B4-BE49-F238E27FC236}">
                <a16:creationId xmlns:a16="http://schemas.microsoft.com/office/drawing/2014/main" xmlns="" id="{1A9751C0-89D3-4BF3-8AF0-A6DAF47A4F3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540487" y="1876778"/>
            <a:ext cx="632675" cy="542093"/>
          </a:xfrm>
          <a:prstGeom prst="rect">
            <a:avLst/>
          </a:prstGeom>
          <a:ln w="9525">
            <a:solidFill>
              <a:srgbClr val="000000"/>
            </a:solidFill>
          </a:ln>
          <a:effectLst>
            <a:outerShdw blurRad="292100" dist="63500" dir="2700000" algn="ctr" rotWithShape="0">
              <a:prstClr val="black">
                <a:alpha val="65000"/>
              </a:prstClr>
            </a:outerShdw>
          </a:effectLst>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xmlns="" id="{F6FD2107-6CAC-4EFA-8648-C779025162D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65616" y="1193871"/>
            <a:ext cx="694621" cy="520966"/>
          </a:xfrm>
          <a:prstGeom prst="rect">
            <a:avLst/>
          </a:prstGeom>
          <a:ln w="9525">
            <a:solidFill>
              <a:srgbClr val="000000"/>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20" name="Picture 3">
            <a:extLst>
              <a:ext uri="{FF2B5EF4-FFF2-40B4-BE49-F238E27FC236}">
                <a16:creationId xmlns:a16="http://schemas.microsoft.com/office/drawing/2014/main" xmlns="" id="{0CB2130E-9A76-49BB-B5D3-2E2DD1083B45}"/>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3495877" y="2265462"/>
            <a:ext cx="869309" cy="602267"/>
          </a:xfrm>
          <a:prstGeom prst="rect">
            <a:avLst/>
          </a:prstGeom>
          <a:noFill/>
          <a:ln w="9525">
            <a:solidFill>
              <a:srgbClr val="000000"/>
            </a:solidFill>
            <a:miter lim="800000"/>
            <a:headEnd/>
            <a:tailEnd/>
          </a:ln>
          <a:effectLst>
            <a:outerShdw blurRad="292100" dist="63500" dir="2700000" algn="tl" rotWithShape="0">
              <a:prstClr val="black">
                <a:alpha val="65000"/>
              </a:prstClr>
            </a:outerShdw>
          </a:effectLst>
          <a:extLst>
            <a:ext uri="{909E8E84-426E-40DD-AFC4-6F175D3DCCD1}">
              <a14:hiddenFill xmlns:a14="http://schemas.microsoft.com/office/drawing/2010/main">
                <a:solidFill>
                  <a:schemeClr val="accent1"/>
                </a:solidFill>
              </a14:hiddenFill>
            </a:ext>
          </a:extLst>
        </p:spPr>
      </p:pic>
      <p:sp>
        <p:nvSpPr>
          <p:cNvPr id="21" name="TextBox 20">
            <a:extLst>
              <a:ext uri="{FF2B5EF4-FFF2-40B4-BE49-F238E27FC236}">
                <a16:creationId xmlns:a16="http://schemas.microsoft.com/office/drawing/2014/main" xmlns="" id="{90C73142-6F2C-4FCC-9AEC-74F0C5A10A59}"/>
              </a:ext>
            </a:extLst>
          </p:cNvPr>
          <p:cNvSpPr txBox="1"/>
          <p:nvPr/>
        </p:nvSpPr>
        <p:spPr>
          <a:xfrm>
            <a:off x="2595090" y="2961605"/>
            <a:ext cx="948628" cy="165068"/>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DESCRIPTIVE</a:t>
            </a:r>
          </a:p>
        </p:txBody>
      </p:sp>
      <p:sp>
        <p:nvSpPr>
          <p:cNvPr id="22" name="TextBox 21">
            <a:extLst>
              <a:ext uri="{FF2B5EF4-FFF2-40B4-BE49-F238E27FC236}">
                <a16:creationId xmlns:a16="http://schemas.microsoft.com/office/drawing/2014/main" xmlns="" id="{9BBEA2DA-65FB-459D-8043-431E909357BF}"/>
              </a:ext>
            </a:extLst>
          </p:cNvPr>
          <p:cNvSpPr txBox="1"/>
          <p:nvPr/>
        </p:nvSpPr>
        <p:spPr>
          <a:xfrm>
            <a:off x="3458444" y="2048745"/>
            <a:ext cx="944174" cy="165068"/>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DIAGNOSTIC</a:t>
            </a:r>
          </a:p>
        </p:txBody>
      </p:sp>
      <p:sp>
        <p:nvSpPr>
          <p:cNvPr id="23" name="TextBox 22">
            <a:extLst>
              <a:ext uri="{FF2B5EF4-FFF2-40B4-BE49-F238E27FC236}">
                <a16:creationId xmlns:a16="http://schemas.microsoft.com/office/drawing/2014/main" xmlns="" id="{800504C0-85B0-40E4-902F-F64B9727D77A}"/>
              </a:ext>
            </a:extLst>
          </p:cNvPr>
          <p:cNvSpPr txBox="1"/>
          <p:nvPr/>
        </p:nvSpPr>
        <p:spPr>
          <a:xfrm>
            <a:off x="4429565" y="1647559"/>
            <a:ext cx="823852" cy="165068"/>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PREDICTIVE</a:t>
            </a:r>
          </a:p>
        </p:txBody>
      </p:sp>
      <p:sp>
        <p:nvSpPr>
          <p:cNvPr id="24" name="Text Box 8">
            <a:extLst>
              <a:ext uri="{FF2B5EF4-FFF2-40B4-BE49-F238E27FC236}">
                <a16:creationId xmlns:a16="http://schemas.microsoft.com/office/drawing/2014/main" xmlns="" id="{35A33C6A-61AD-4CEC-B53C-52C5BB0A9DC8}"/>
              </a:ext>
            </a:extLst>
          </p:cNvPr>
          <p:cNvSpPr txBox="1">
            <a:spLocks noChangeArrowheads="1"/>
          </p:cNvSpPr>
          <p:nvPr/>
        </p:nvSpPr>
        <p:spPr bwMode="auto">
          <a:xfrm>
            <a:off x="1656134" y="1929957"/>
            <a:ext cx="1718892" cy="488482"/>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GB" sz="1350" b="1" dirty="0">
                <a:solidFill>
                  <a:srgbClr val="002776"/>
                </a:solidFill>
              </a:rPr>
              <a:t>Identifying </a:t>
            </a:r>
          </a:p>
          <a:p>
            <a:pPr algn="ctr"/>
            <a:r>
              <a:rPr lang="en-GB" sz="1350" b="1" dirty="0">
                <a:solidFill>
                  <a:srgbClr val="002776"/>
                </a:solidFill>
              </a:rPr>
              <a:t>Factors &amp; Causes</a:t>
            </a:r>
          </a:p>
        </p:txBody>
      </p:sp>
      <p:sp>
        <p:nvSpPr>
          <p:cNvPr id="26" name="Text Box 10">
            <a:extLst>
              <a:ext uri="{FF2B5EF4-FFF2-40B4-BE49-F238E27FC236}">
                <a16:creationId xmlns:a16="http://schemas.microsoft.com/office/drawing/2014/main" xmlns="" id="{26F4717E-155D-47CE-9BF9-E75B4C817A5E}"/>
              </a:ext>
            </a:extLst>
          </p:cNvPr>
          <p:cNvSpPr txBox="1">
            <a:spLocks noChangeArrowheads="1"/>
          </p:cNvSpPr>
          <p:nvPr/>
        </p:nvSpPr>
        <p:spPr bwMode="auto">
          <a:xfrm rot="16200000">
            <a:off x="924111" y="1173037"/>
            <a:ext cx="483119" cy="233896"/>
          </a:xfrm>
          <a:prstGeom prst="rect">
            <a:avLst/>
          </a:prstGeom>
          <a:noFill/>
          <a:ln w="9525" algn="ctr">
            <a:noFill/>
            <a:miter lim="800000"/>
            <a:headEnd/>
            <a:tailEnd/>
          </a:ln>
        </p:spPr>
        <p:txBody>
          <a:bodyPr wrap="none" lIns="68567" tIns="34283" rIns="68567" bIns="34283">
            <a:spAutoFit/>
          </a:bodyPr>
          <a:lstStyle/>
          <a:p>
            <a:r>
              <a:rPr lang="en-GB" sz="1070" b="1" dirty="0">
                <a:solidFill>
                  <a:srgbClr val="002776"/>
                </a:solidFill>
                <a:latin typeface="Arial" panose="020B0604020202020204" pitchFamily="34" charset="0"/>
                <a:cs typeface="Arial" panose="020B0604020202020204" pitchFamily="34" charset="0"/>
              </a:rPr>
              <a:t>HIGH</a:t>
            </a:r>
          </a:p>
        </p:txBody>
      </p:sp>
      <p:sp>
        <p:nvSpPr>
          <p:cNvPr id="27" name="Text Box 8">
            <a:extLst>
              <a:ext uri="{FF2B5EF4-FFF2-40B4-BE49-F238E27FC236}">
                <a16:creationId xmlns:a16="http://schemas.microsoft.com/office/drawing/2014/main" xmlns="" id="{5F66AF8A-512C-4420-9861-A13F61564807}"/>
              </a:ext>
            </a:extLst>
          </p:cNvPr>
          <p:cNvSpPr txBox="1">
            <a:spLocks noChangeArrowheads="1"/>
          </p:cNvSpPr>
          <p:nvPr/>
        </p:nvSpPr>
        <p:spPr bwMode="auto">
          <a:xfrm>
            <a:off x="4197418" y="1077561"/>
            <a:ext cx="1190510" cy="488482"/>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GB" sz="1350" b="1" dirty="0">
                <a:solidFill>
                  <a:srgbClr val="002776"/>
                </a:solidFill>
              </a:rPr>
              <a:t>Optimizing Systems</a:t>
            </a:r>
            <a:endParaRPr lang="en-US" sz="1350" dirty="0">
              <a:solidFill>
                <a:srgbClr val="002776"/>
              </a:solidFill>
            </a:endParaRPr>
          </a:p>
        </p:txBody>
      </p:sp>
      <p:cxnSp>
        <p:nvCxnSpPr>
          <p:cNvPr id="28" name="Straight Connector 27">
            <a:extLst>
              <a:ext uri="{FF2B5EF4-FFF2-40B4-BE49-F238E27FC236}">
                <a16:creationId xmlns:a16="http://schemas.microsoft.com/office/drawing/2014/main" xmlns="" id="{369E85A9-4BC4-4DA3-881E-063A8715AE2F}"/>
              </a:ext>
            </a:extLst>
          </p:cNvPr>
          <p:cNvCxnSpPr/>
          <p:nvPr/>
        </p:nvCxnSpPr>
        <p:spPr>
          <a:xfrm>
            <a:off x="3371602" y="2339927"/>
            <a:ext cx="124276" cy="0"/>
          </a:xfrm>
          <a:prstGeom prst="line">
            <a:avLst/>
          </a:prstGeom>
          <a:ln w="25400">
            <a:solidFill>
              <a:schemeClr val="tx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9" name="Text Box 8">
            <a:extLst>
              <a:ext uri="{FF2B5EF4-FFF2-40B4-BE49-F238E27FC236}">
                <a16:creationId xmlns:a16="http://schemas.microsoft.com/office/drawing/2014/main" xmlns="" id="{35DC64D3-8787-42DE-96E2-6831BC8F8438}"/>
              </a:ext>
            </a:extLst>
          </p:cNvPr>
          <p:cNvSpPr txBox="1">
            <a:spLocks noChangeArrowheads="1"/>
          </p:cNvSpPr>
          <p:nvPr/>
        </p:nvSpPr>
        <p:spPr bwMode="auto">
          <a:xfrm>
            <a:off x="6207443" y="1619516"/>
            <a:ext cx="1449608" cy="442316"/>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GB" sz="1200" b="1" dirty="0">
                <a:solidFill>
                  <a:srgbClr val="002776"/>
                </a:solidFill>
              </a:rPr>
              <a:t>Network Context &amp; Meaning</a:t>
            </a:r>
          </a:p>
        </p:txBody>
      </p:sp>
      <p:sp>
        <p:nvSpPr>
          <p:cNvPr id="30" name="TextBox 29">
            <a:extLst>
              <a:ext uri="{FF2B5EF4-FFF2-40B4-BE49-F238E27FC236}">
                <a16:creationId xmlns:a16="http://schemas.microsoft.com/office/drawing/2014/main" xmlns="" id="{34F1DB0C-B399-40CA-8B38-0E8F90399821}"/>
              </a:ext>
            </a:extLst>
          </p:cNvPr>
          <p:cNvSpPr txBox="1"/>
          <p:nvPr/>
        </p:nvSpPr>
        <p:spPr>
          <a:xfrm>
            <a:off x="6401715" y="752029"/>
            <a:ext cx="693977" cy="165068"/>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SEMANTIC</a:t>
            </a:r>
          </a:p>
        </p:txBody>
      </p:sp>
      <p:pic>
        <p:nvPicPr>
          <p:cNvPr id="31" name="Picture 2" descr="http://www.byeday.net/ona/KMPinfoGT3-4.gif">
            <a:extLst>
              <a:ext uri="{FF2B5EF4-FFF2-40B4-BE49-F238E27FC236}">
                <a16:creationId xmlns:a16="http://schemas.microsoft.com/office/drawing/2014/main" xmlns="" id="{9B9740F4-FE4F-422A-984C-ADE8AF471FD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856" y="985307"/>
            <a:ext cx="703480" cy="530056"/>
          </a:xfrm>
          <a:prstGeom prst="rect">
            <a:avLst/>
          </a:prstGeom>
          <a:noFill/>
          <a:ln w="9525">
            <a:solidFill>
              <a:srgbClr val="000000"/>
            </a:solidFill>
            <a:miter lim="800000"/>
            <a:headEnd/>
            <a:tailEnd/>
          </a:ln>
          <a:effectLst>
            <a:outerShdw blurRad="292100" dist="190500" dir="2700000" algn="tl" rotWithShape="0">
              <a:prstClr val="black">
                <a:alpha val="65000"/>
              </a:prstClr>
            </a:outerShdw>
          </a:effectLst>
          <a:extLst>
            <a:ext uri="{909E8E84-426E-40DD-AFC4-6F175D3DCCD1}">
              <a14:hiddenFill xmlns:a14="http://schemas.microsoft.com/office/drawing/2010/main">
                <a:solidFill>
                  <a:srgbClr val="FFFFFF"/>
                </a:solidFill>
              </a14:hiddenFill>
            </a:ext>
          </a:extLst>
        </p:spPr>
      </p:pic>
      <p:grpSp>
        <p:nvGrpSpPr>
          <p:cNvPr id="32" name="Group 48">
            <a:extLst>
              <a:ext uri="{FF2B5EF4-FFF2-40B4-BE49-F238E27FC236}">
                <a16:creationId xmlns:a16="http://schemas.microsoft.com/office/drawing/2014/main" xmlns="" id="{1F80C88A-647D-4779-985D-B42464DFE15E}"/>
              </a:ext>
            </a:extLst>
          </p:cNvPr>
          <p:cNvGrpSpPr/>
          <p:nvPr/>
        </p:nvGrpSpPr>
        <p:grpSpPr>
          <a:xfrm>
            <a:off x="3090026" y="762601"/>
            <a:ext cx="801132" cy="544318"/>
            <a:chOff x="-1748407" y="761509"/>
            <a:chExt cx="1293206" cy="852768"/>
          </a:xfrm>
        </p:grpSpPr>
        <p:sp>
          <p:nvSpPr>
            <p:cNvPr id="33" name="Rectangle 32">
              <a:extLst>
                <a:ext uri="{FF2B5EF4-FFF2-40B4-BE49-F238E27FC236}">
                  <a16:creationId xmlns:a16="http://schemas.microsoft.com/office/drawing/2014/main" xmlns="" id="{0B62F26C-0BC6-4D5D-9EAD-C5FCE87C1449}"/>
                </a:ext>
              </a:extLst>
            </p:cNvPr>
            <p:cNvSpPr/>
            <p:nvPr/>
          </p:nvSpPr>
          <p:spPr>
            <a:xfrm>
              <a:off x="-1748407" y="1332956"/>
              <a:ext cx="1258898" cy="28132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0271" tIns="20271" rIns="20271" bIns="20271" rtlCol="0" anchor="ctr">
              <a:spAutoFit/>
            </a:bodyPr>
            <a:lstStyle/>
            <a:p>
              <a:pPr algn="ctr"/>
              <a:endParaRPr lang="en-GB" sz="901" dirty="0" err="1">
                <a:solidFill>
                  <a:schemeClr val="tx2"/>
                </a:solidFill>
              </a:endParaRPr>
            </a:p>
          </p:txBody>
        </p:sp>
        <p:sp>
          <p:nvSpPr>
            <p:cNvPr id="34" name="TextBox 33">
              <a:extLst>
                <a:ext uri="{FF2B5EF4-FFF2-40B4-BE49-F238E27FC236}">
                  <a16:creationId xmlns:a16="http://schemas.microsoft.com/office/drawing/2014/main" xmlns="" id="{CF2B4CBD-EE7D-4127-915B-DB4BAD385928}"/>
                </a:ext>
              </a:extLst>
            </p:cNvPr>
            <p:cNvSpPr txBox="1"/>
            <p:nvPr/>
          </p:nvSpPr>
          <p:spPr>
            <a:xfrm>
              <a:off x="-1714100" y="761509"/>
              <a:ext cx="1258899" cy="555664"/>
            </a:xfrm>
            <a:prstGeom prst="rect">
              <a:avLst/>
            </a:prstGeom>
            <a:solidFill>
              <a:schemeClr val="bg1"/>
            </a:solidFill>
            <a:ln>
              <a:noFill/>
            </a:ln>
          </p:spPr>
          <p:txBody>
            <a:bodyPr wrap="square" lIns="20271" tIns="20271" rIns="20271" bIns="20271" rtlCol="0">
              <a:spAutoFit/>
            </a:bodyPr>
            <a:lstStyle/>
            <a:p>
              <a:pPr algn="ctr"/>
              <a:endParaRPr lang="en-GB" sz="507" dirty="0">
                <a:solidFill>
                  <a:schemeClr val="tx2"/>
                </a:solidFill>
              </a:endParaRPr>
            </a:p>
            <a:p>
              <a:pPr algn="ctr" defTabSz="566831">
                <a:lnSpc>
                  <a:spcPct val="85000"/>
                </a:lnSpc>
              </a:pPr>
              <a:r>
                <a:rPr lang="en-GB" altLang="ja-JP" sz="901" b="1" dirty="0">
                  <a:solidFill>
                    <a:srgbClr val="002776"/>
                  </a:solidFill>
                  <a:ea typeface="ＭＳ Ｐゴシック" charset="-128"/>
                </a:rPr>
                <a:t>Data visualization</a:t>
              </a:r>
            </a:p>
          </p:txBody>
        </p:sp>
      </p:grpSp>
      <p:pic>
        <p:nvPicPr>
          <p:cNvPr id="35" name="Picture 2" descr="http://www.fmsasg.com/SocialNetworkAnalysis/SocialNetworkAnalysis_Graph.gif">
            <a:extLst>
              <a:ext uri="{FF2B5EF4-FFF2-40B4-BE49-F238E27FC236}">
                <a16:creationId xmlns:a16="http://schemas.microsoft.com/office/drawing/2014/main" xmlns="" id="{8E5D09EF-8A39-4ED7-962C-F5B34CBCC3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49121" y="1110797"/>
            <a:ext cx="685468" cy="514708"/>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xmlns="" id="{14DE301E-DE60-4FA4-9512-478DD6C56495}"/>
              </a:ext>
            </a:extLst>
          </p:cNvPr>
          <p:cNvSpPr/>
          <p:nvPr/>
        </p:nvSpPr>
        <p:spPr>
          <a:xfrm>
            <a:off x="3018403" y="762601"/>
            <a:ext cx="961583" cy="982274"/>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4262"/>
          </a:p>
        </p:txBody>
      </p:sp>
      <p:sp>
        <p:nvSpPr>
          <p:cNvPr id="37" name="Rectangle 36">
            <a:extLst>
              <a:ext uri="{FF2B5EF4-FFF2-40B4-BE49-F238E27FC236}">
                <a16:creationId xmlns:a16="http://schemas.microsoft.com/office/drawing/2014/main" xmlns="" id="{FA6BD2D9-4065-4CC0-8ECB-A18319A7D4B6}"/>
              </a:ext>
            </a:extLst>
          </p:cNvPr>
          <p:cNvSpPr/>
          <p:nvPr/>
        </p:nvSpPr>
        <p:spPr>
          <a:xfrm>
            <a:off x="1445408" y="3910177"/>
            <a:ext cx="944174" cy="2055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0271" tIns="20271" rIns="20271" bIns="20271" rtlCol="0" anchor="ctr">
            <a:spAutoFit/>
          </a:bodyPr>
          <a:lstStyle/>
          <a:p>
            <a:pPr algn="ctr"/>
            <a:endParaRPr lang="en-GB" sz="1070" dirty="0" err="1">
              <a:solidFill>
                <a:schemeClr val="tx2"/>
              </a:solidFill>
            </a:endParaRPr>
          </a:p>
        </p:txBody>
      </p:sp>
      <p:sp>
        <p:nvSpPr>
          <p:cNvPr id="38" name="TextBox 37">
            <a:extLst>
              <a:ext uri="{FF2B5EF4-FFF2-40B4-BE49-F238E27FC236}">
                <a16:creationId xmlns:a16="http://schemas.microsoft.com/office/drawing/2014/main" xmlns="" id="{AD0F2212-787F-4166-AE30-6525539FC636}"/>
              </a:ext>
            </a:extLst>
          </p:cNvPr>
          <p:cNvSpPr txBox="1"/>
          <p:nvPr/>
        </p:nvSpPr>
        <p:spPr>
          <a:xfrm>
            <a:off x="1445408" y="3363498"/>
            <a:ext cx="1020805" cy="166031"/>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DATA ENGINEEERING</a:t>
            </a:r>
          </a:p>
        </p:txBody>
      </p:sp>
      <p:pic>
        <p:nvPicPr>
          <p:cNvPr id="39" name="Picture 38">
            <a:extLst>
              <a:ext uri="{FF2B5EF4-FFF2-40B4-BE49-F238E27FC236}">
                <a16:creationId xmlns:a16="http://schemas.microsoft.com/office/drawing/2014/main" xmlns="" id="{D8A01AA4-9A1C-44AD-ACE8-0F25C9A55B2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65111" y="3607738"/>
            <a:ext cx="747007" cy="747007"/>
          </a:xfrm>
          <a:prstGeom prst="rect">
            <a:avLst/>
          </a:prstGeom>
          <a:ln w="12700">
            <a:solidFill>
              <a:schemeClr val="tx1"/>
            </a:solidFill>
          </a:ln>
          <a:effectLst>
            <a:outerShdw blurRad="292100" dist="63500" dir="2700000" algn="l" rotWithShape="0">
              <a:prstClr val="black">
                <a:alpha val="65000"/>
              </a:prstClr>
            </a:outerShdw>
          </a:effectLst>
        </p:spPr>
      </p:pic>
      <p:sp>
        <p:nvSpPr>
          <p:cNvPr id="40" name="Text Box 8">
            <a:extLst>
              <a:ext uri="{FF2B5EF4-FFF2-40B4-BE49-F238E27FC236}">
                <a16:creationId xmlns:a16="http://schemas.microsoft.com/office/drawing/2014/main" xmlns="" id="{7D533C4B-B1CA-4DEB-A20F-4EB73D3D03B0}"/>
              </a:ext>
            </a:extLst>
          </p:cNvPr>
          <p:cNvSpPr txBox="1">
            <a:spLocks noChangeArrowheads="1"/>
          </p:cNvSpPr>
          <p:nvPr/>
        </p:nvSpPr>
        <p:spPr bwMode="auto">
          <a:xfrm>
            <a:off x="2945047" y="3663719"/>
            <a:ext cx="1313162" cy="488482"/>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US" sz="1350" b="1" dirty="0">
                <a:solidFill>
                  <a:srgbClr val="002776"/>
                </a:solidFill>
              </a:rPr>
              <a:t>Business Intelligence</a:t>
            </a:r>
          </a:p>
        </p:txBody>
      </p:sp>
      <p:cxnSp>
        <p:nvCxnSpPr>
          <p:cNvPr id="41" name="Straight Connector 40">
            <a:extLst>
              <a:ext uri="{FF2B5EF4-FFF2-40B4-BE49-F238E27FC236}">
                <a16:creationId xmlns:a16="http://schemas.microsoft.com/office/drawing/2014/main" xmlns="" id="{B994615B-D406-4E2E-B78F-03339240D459}"/>
              </a:ext>
            </a:extLst>
          </p:cNvPr>
          <p:cNvCxnSpPr>
            <a:endCxn id="36" idx="2"/>
          </p:cNvCxnSpPr>
          <p:nvPr/>
        </p:nvCxnSpPr>
        <p:spPr>
          <a:xfrm flipV="1">
            <a:off x="2816101" y="1253739"/>
            <a:ext cx="202301" cy="1493"/>
          </a:xfrm>
          <a:prstGeom prst="line">
            <a:avLst/>
          </a:prstGeom>
          <a:ln w="25400">
            <a:solidFill>
              <a:schemeClr val="tx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2" name="Text Box 8">
            <a:extLst>
              <a:ext uri="{FF2B5EF4-FFF2-40B4-BE49-F238E27FC236}">
                <a16:creationId xmlns:a16="http://schemas.microsoft.com/office/drawing/2014/main" xmlns="" id="{9EC989DC-4864-4C57-9DBF-B9991B4B3C82}"/>
              </a:ext>
            </a:extLst>
          </p:cNvPr>
          <p:cNvSpPr txBox="1">
            <a:spLocks noChangeArrowheads="1"/>
          </p:cNvSpPr>
          <p:nvPr/>
        </p:nvSpPr>
        <p:spPr bwMode="auto">
          <a:xfrm>
            <a:off x="1640246" y="971178"/>
            <a:ext cx="1232759" cy="442316"/>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GB" sz="1200" b="1" dirty="0">
                <a:solidFill>
                  <a:srgbClr val="002776"/>
                </a:solidFill>
              </a:rPr>
              <a:t>Understanding Patterns</a:t>
            </a:r>
          </a:p>
        </p:txBody>
      </p:sp>
      <p:sp>
        <p:nvSpPr>
          <p:cNvPr id="43" name="Text Box 8">
            <a:extLst>
              <a:ext uri="{FF2B5EF4-FFF2-40B4-BE49-F238E27FC236}">
                <a16:creationId xmlns:a16="http://schemas.microsoft.com/office/drawing/2014/main" xmlns="" id="{8ECBCC81-6F54-4579-BB75-1C3845750066}"/>
              </a:ext>
            </a:extLst>
          </p:cNvPr>
          <p:cNvSpPr txBox="1">
            <a:spLocks noChangeArrowheads="1"/>
          </p:cNvSpPr>
          <p:nvPr/>
        </p:nvSpPr>
        <p:spPr bwMode="auto">
          <a:xfrm>
            <a:off x="4831345" y="2304816"/>
            <a:ext cx="1659247" cy="488482"/>
          </a:xfrm>
          <a:prstGeom prst="rect">
            <a:avLst/>
          </a:prstGeom>
          <a:solidFill>
            <a:schemeClr val="bg1">
              <a:lumMod val="95000"/>
            </a:schemeClr>
          </a:solidFill>
          <a:ln>
            <a:solidFill>
              <a:schemeClr val="tx1"/>
            </a:solidFill>
          </a:ln>
          <a:effectLst>
            <a:outerShdw blurRad="63500" sx="102000" sy="102000" algn="ctr" rotWithShape="0">
              <a:prstClr val="black">
                <a:alpha val="40000"/>
              </a:prstClr>
            </a:outerShdw>
          </a:effectLst>
          <a:extLst/>
        </p:spPr>
        <p:txBody>
          <a:bodyPr wrap="square" lIns="72278" tIns="36139" rIns="72278" bIns="36139">
            <a:spAutoFit/>
          </a:bodyPr>
          <a:lstStyle>
            <a:lvl1pPr defTabSz="865188">
              <a:defRPr>
                <a:solidFill>
                  <a:schemeClr val="tx1"/>
                </a:solidFill>
                <a:latin typeface="Arial" charset="0"/>
                <a:cs typeface="Arial" charset="0"/>
              </a:defRPr>
            </a:lvl1pPr>
            <a:lvl2pPr marL="431800" defTabSz="865188">
              <a:defRPr>
                <a:solidFill>
                  <a:schemeClr val="tx1"/>
                </a:solidFill>
                <a:latin typeface="Arial" charset="0"/>
                <a:cs typeface="Arial" charset="0"/>
              </a:defRPr>
            </a:lvl2pPr>
            <a:lvl3pPr marL="865188" defTabSz="865188">
              <a:defRPr>
                <a:solidFill>
                  <a:schemeClr val="tx1"/>
                </a:solidFill>
                <a:latin typeface="Arial" charset="0"/>
                <a:cs typeface="Arial" charset="0"/>
              </a:defRPr>
            </a:lvl3pPr>
            <a:lvl4pPr marL="1296988" defTabSz="865188">
              <a:defRPr>
                <a:solidFill>
                  <a:schemeClr val="tx1"/>
                </a:solidFill>
                <a:latin typeface="Arial" charset="0"/>
                <a:cs typeface="Arial" charset="0"/>
              </a:defRPr>
            </a:lvl4pPr>
            <a:lvl5pPr marL="1730375" defTabSz="865188">
              <a:defRPr>
                <a:solidFill>
                  <a:schemeClr val="tx1"/>
                </a:solidFill>
                <a:latin typeface="Arial" charset="0"/>
                <a:cs typeface="Arial" charset="0"/>
              </a:defRPr>
            </a:lvl5pPr>
            <a:lvl6pPr marL="2187575" defTabSz="865188" fontAlgn="base">
              <a:spcBef>
                <a:spcPct val="0"/>
              </a:spcBef>
              <a:spcAft>
                <a:spcPct val="0"/>
              </a:spcAft>
              <a:defRPr>
                <a:solidFill>
                  <a:schemeClr val="tx1"/>
                </a:solidFill>
                <a:latin typeface="Arial" charset="0"/>
                <a:cs typeface="Arial" charset="0"/>
              </a:defRPr>
            </a:lvl6pPr>
            <a:lvl7pPr marL="2644775" defTabSz="865188" fontAlgn="base">
              <a:spcBef>
                <a:spcPct val="0"/>
              </a:spcBef>
              <a:spcAft>
                <a:spcPct val="0"/>
              </a:spcAft>
              <a:defRPr>
                <a:solidFill>
                  <a:schemeClr val="tx1"/>
                </a:solidFill>
                <a:latin typeface="Arial" charset="0"/>
                <a:cs typeface="Arial" charset="0"/>
              </a:defRPr>
            </a:lvl7pPr>
            <a:lvl8pPr marL="3101975" defTabSz="865188" fontAlgn="base">
              <a:spcBef>
                <a:spcPct val="0"/>
              </a:spcBef>
              <a:spcAft>
                <a:spcPct val="0"/>
              </a:spcAft>
              <a:defRPr>
                <a:solidFill>
                  <a:schemeClr val="tx1"/>
                </a:solidFill>
                <a:latin typeface="Arial" charset="0"/>
                <a:cs typeface="Arial" charset="0"/>
              </a:defRPr>
            </a:lvl8pPr>
            <a:lvl9pPr marL="3559175" defTabSz="865188" fontAlgn="base">
              <a:spcBef>
                <a:spcPct val="0"/>
              </a:spcBef>
              <a:spcAft>
                <a:spcPct val="0"/>
              </a:spcAft>
              <a:defRPr>
                <a:solidFill>
                  <a:schemeClr val="tx1"/>
                </a:solidFill>
                <a:latin typeface="Arial" charset="0"/>
                <a:cs typeface="Arial" charset="0"/>
              </a:defRPr>
            </a:lvl9pPr>
          </a:lstStyle>
          <a:p>
            <a:pPr algn="ctr"/>
            <a:r>
              <a:rPr lang="en-GB" sz="1350" b="1" dirty="0">
                <a:solidFill>
                  <a:srgbClr val="002776"/>
                </a:solidFill>
              </a:rPr>
              <a:t>Forecasting &amp; Probabilities</a:t>
            </a:r>
          </a:p>
        </p:txBody>
      </p:sp>
      <p:sp>
        <p:nvSpPr>
          <p:cNvPr id="44" name="TextBox 43">
            <a:extLst>
              <a:ext uri="{FF2B5EF4-FFF2-40B4-BE49-F238E27FC236}">
                <a16:creationId xmlns:a16="http://schemas.microsoft.com/office/drawing/2014/main" xmlns="" id="{30C3CCE4-AF2F-4870-A8EC-7DE6D0D0B208}"/>
              </a:ext>
            </a:extLst>
          </p:cNvPr>
          <p:cNvSpPr txBox="1"/>
          <p:nvPr/>
        </p:nvSpPr>
        <p:spPr>
          <a:xfrm>
            <a:off x="5325650" y="888460"/>
            <a:ext cx="944174" cy="165068"/>
          </a:xfrm>
          <a:prstGeom prst="rect">
            <a:avLst/>
          </a:prstGeom>
          <a:solidFill>
            <a:srgbClr val="FFFFCC"/>
          </a:solidFill>
          <a:ln w="12700">
            <a:solidFill>
              <a:srgbClr val="000000"/>
            </a:solidFill>
          </a:ln>
          <a:effectLst>
            <a:outerShdw blurRad="292100" dist="63500" dir="2700000" algn="tl" rotWithShape="0">
              <a:prstClr val="black">
                <a:alpha val="65000"/>
              </a:prstClr>
            </a:outerShdw>
          </a:effectLst>
        </p:spPr>
        <p:txBody>
          <a:bodyPr wrap="square" lIns="26999" tIns="26999" rIns="26999" bIns="26999" rtlCol="0">
            <a:spAutoFit/>
          </a:bodyPr>
          <a:lstStyle/>
          <a:p>
            <a:pPr algn="ctr" defTabSz="677351">
              <a:lnSpc>
                <a:spcPct val="85000"/>
              </a:lnSpc>
            </a:pPr>
            <a:r>
              <a:rPr lang="en-GB" altLang="ja-JP" sz="845" b="1" dirty="0">
                <a:solidFill>
                  <a:srgbClr val="002776"/>
                </a:solidFill>
                <a:ea typeface="ＭＳ Ｐゴシック" charset="-128"/>
              </a:rPr>
              <a:t>PRESCRIPTIVE</a:t>
            </a:r>
          </a:p>
        </p:txBody>
      </p:sp>
      <p:sp>
        <p:nvSpPr>
          <p:cNvPr id="45" name="Title 1">
            <a:extLst>
              <a:ext uri="{FF2B5EF4-FFF2-40B4-BE49-F238E27FC236}">
                <a16:creationId xmlns:a16="http://schemas.microsoft.com/office/drawing/2014/main" xmlns="" id="{07D04C32-38A3-4879-AAE8-410314218789}"/>
              </a:ext>
            </a:extLst>
          </p:cNvPr>
          <p:cNvSpPr>
            <a:spLocks noGrp="1"/>
          </p:cNvSpPr>
          <p:nvPr>
            <p:ph type="title"/>
          </p:nvPr>
        </p:nvSpPr>
        <p:spPr>
          <a:xfrm>
            <a:off x="594851" y="68463"/>
            <a:ext cx="7891272" cy="457200"/>
          </a:xfrm>
        </p:spPr>
        <p:txBody>
          <a:bodyPr/>
          <a:lstStyle/>
          <a:p>
            <a:r>
              <a:rPr lang="en-US" b="1" dirty="0"/>
              <a:t>Data Science in 30 Seconds…</a:t>
            </a:r>
          </a:p>
        </p:txBody>
      </p:sp>
      <p:sp>
        <p:nvSpPr>
          <p:cNvPr id="25" name="Oval 24">
            <a:extLst>
              <a:ext uri="{FF2B5EF4-FFF2-40B4-BE49-F238E27FC236}">
                <a16:creationId xmlns:a16="http://schemas.microsoft.com/office/drawing/2014/main" xmlns="" id="{48ACA803-13CC-4E9C-AAC6-B28C51B41643}"/>
              </a:ext>
            </a:extLst>
          </p:cNvPr>
          <p:cNvSpPr/>
          <p:nvPr/>
        </p:nvSpPr>
        <p:spPr>
          <a:xfrm>
            <a:off x="3058416" y="998013"/>
            <a:ext cx="2453787" cy="2531515"/>
          </a:xfrm>
          <a:prstGeom prst="ellipse">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600" b="1" dirty="0">
                <a:solidFill>
                  <a:srgbClr val="FFFF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endParaRPr lang="nl-NL" sz="16600" b="1" dirty="0">
              <a:solidFill>
                <a:srgbClr val="FFFF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xmlns="" id="{E5FB2322-3150-4260-BA57-215C8FE6CC64}"/>
              </a:ext>
            </a:extLst>
          </p:cNvPr>
          <p:cNvSpPr txBox="1"/>
          <p:nvPr/>
        </p:nvSpPr>
        <p:spPr>
          <a:xfrm>
            <a:off x="2852314" y="4801192"/>
            <a:ext cx="2808654" cy="276999"/>
          </a:xfrm>
          <a:prstGeom prst="rect">
            <a:avLst/>
          </a:prstGeom>
          <a:noFill/>
        </p:spPr>
        <p:txBody>
          <a:bodyPr wrap="none" rtlCol="0">
            <a:spAutoFit/>
          </a:bodyPr>
          <a:lstStyle/>
          <a:p>
            <a:r>
              <a:rPr lang="nl-NL" sz="1200" b="1" dirty="0"/>
              <a:t>See YouTube lectures: </a:t>
            </a:r>
            <a:r>
              <a:rPr lang="nl-NL" sz="1200" b="1" dirty="0">
                <a:hlinkClick r:id="rId9"/>
              </a:rPr>
              <a:t>https://bit.ly/SS9rCT</a:t>
            </a:r>
            <a:r>
              <a:rPr lang="nl-NL" sz="1200" b="1" dirty="0"/>
              <a:t> </a:t>
            </a:r>
          </a:p>
        </p:txBody>
      </p:sp>
    </p:spTree>
    <p:extLst>
      <p:ext uri="{BB962C8B-B14F-4D97-AF65-F5344CB8AC3E}">
        <p14:creationId xmlns:p14="http://schemas.microsoft.com/office/powerpoint/2010/main" val="4273511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1+#ppt_h/2"/>
                                          </p:val>
                                        </p:tav>
                                        <p:tav tm="100000">
                                          <p:val>
                                            <p:strVal val="#ppt_y"/>
                                          </p:val>
                                        </p:tav>
                                      </p:tavLst>
                                    </p:anim>
                                  </p:childTnLst>
                                </p:cTn>
                              </p:par>
                              <p:par>
                                <p:cTn id="9" presetID="2" presetClass="entr" presetSubtype="12"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0-#ppt_w/2"/>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12"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0-#ppt_w/2"/>
                                          </p:val>
                                        </p:tav>
                                        <p:tav tm="100000">
                                          <p:val>
                                            <p:strVal val="#ppt_x"/>
                                          </p:val>
                                        </p:tav>
                                      </p:tavLst>
                                    </p:anim>
                                    <p:anim calcmode="lin" valueType="num">
                                      <p:cBhvr additive="base">
                                        <p:cTn id="17" dur="500" fill="hold"/>
                                        <p:tgtEl>
                                          <p:spTgt spid="12"/>
                                        </p:tgtEl>
                                        <p:attrNameLst>
                                          <p:attrName>ppt_y</p:attrName>
                                        </p:attrNameLst>
                                      </p:cBhvr>
                                      <p:tavLst>
                                        <p:tav tm="0">
                                          <p:val>
                                            <p:strVal val="1+#ppt_h/2"/>
                                          </p:val>
                                        </p:tav>
                                        <p:tav tm="100000">
                                          <p:val>
                                            <p:strVal val="#ppt_y"/>
                                          </p:val>
                                        </p:tav>
                                      </p:tavLst>
                                    </p:anim>
                                  </p:childTnLst>
                                </p:cTn>
                              </p:par>
                              <p:par>
                                <p:cTn id="18" presetID="2" presetClass="entr" presetSubtype="12"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additive="base">
                                        <p:cTn id="20" dur="500" fill="hold"/>
                                        <p:tgtEl>
                                          <p:spTgt spid="40"/>
                                        </p:tgtEl>
                                        <p:attrNameLst>
                                          <p:attrName>ppt_x</p:attrName>
                                        </p:attrNameLst>
                                      </p:cBhvr>
                                      <p:tavLst>
                                        <p:tav tm="0">
                                          <p:val>
                                            <p:strVal val="0-#ppt_w/2"/>
                                          </p:val>
                                        </p:tav>
                                        <p:tav tm="100000">
                                          <p:val>
                                            <p:strVal val="#ppt_x"/>
                                          </p:val>
                                        </p:tav>
                                      </p:tavLst>
                                    </p:anim>
                                    <p:anim calcmode="lin" valueType="num">
                                      <p:cBhvr additive="base">
                                        <p:cTn id="21" dur="500" fill="hold"/>
                                        <p:tgtEl>
                                          <p:spTgt spid="40"/>
                                        </p:tgtEl>
                                        <p:attrNameLst>
                                          <p:attrName>ppt_y</p:attrName>
                                        </p:attrNameLst>
                                      </p:cBhvr>
                                      <p:tavLst>
                                        <p:tav tm="0">
                                          <p:val>
                                            <p:strVal val="1+#ppt_h/2"/>
                                          </p:val>
                                        </p:tav>
                                        <p:tav tm="100000">
                                          <p:val>
                                            <p:strVal val="#ppt_y"/>
                                          </p:val>
                                        </p:tav>
                                      </p:tavLst>
                                    </p:anim>
                                  </p:childTnLst>
                                </p:cTn>
                              </p:par>
                              <p:par>
                                <p:cTn id="22" presetID="2" presetClass="entr" presetSubtype="1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0-#ppt_w/2"/>
                                          </p:val>
                                        </p:tav>
                                        <p:tav tm="100000">
                                          <p:val>
                                            <p:strVal val="#ppt_x"/>
                                          </p:val>
                                        </p:tav>
                                      </p:tavLst>
                                    </p:anim>
                                    <p:anim calcmode="lin" valueType="num">
                                      <p:cBhvr additive="base">
                                        <p:cTn id="25" dur="500" fill="hold"/>
                                        <p:tgtEl>
                                          <p:spTgt spid="21"/>
                                        </p:tgtEl>
                                        <p:attrNameLst>
                                          <p:attrName>ppt_y</p:attrName>
                                        </p:attrNameLst>
                                      </p:cBhvr>
                                      <p:tavLst>
                                        <p:tav tm="0">
                                          <p:val>
                                            <p:strVal val="1+#ppt_h/2"/>
                                          </p:val>
                                        </p:tav>
                                        <p:tav tm="100000">
                                          <p:val>
                                            <p:strVal val="#ppt_y"/>
                                          </p:val>
                                        </p:tav>
                                      </p:tavLst>
                                    </p:anim>
                                  </p:childTnLst>
                                </p:cTn>
                              </p:par>
                            </p:childTnLst>
                          </p:cTn>
                        </p:par>
                        <p:par>
                          <p:cTn id="26" fill="hold">
                            <p:stCondLst>
                              <p:cond delay="1000"/>
                            </p:stCondLst>
                            <p:childTnLst>
                              <p:par>
                                <p:cTn id="27" presetID="2" presetClass="entr" presetSubtype="8"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 calcmode="lin" valueType="num">
                                      <p:cBhvr additive="base">
                                        <p:cTn id="29" dur="500" fill="hold"/>
                                        <p:tgtEl>
                                          <p:spTgt spid="24"/>
                                        </p:tgtEl>
                                        <p:attrNameLst>
                                          <p:attrName>ppt_x</p:attrName>
                                        </p:attrNameLst>
                                      </p:cBhvr>
                                      <p:tavLst>
                                        <p:tav tm="0">
                                          <p:val>
                                            <p:strVal val="0-#ppt_w/2"/>
                                          </p:val>
                                        </p:tav>
                                        <p:tav tm="100000">
                                          <p:val>
                                            <p:strVal val="#ppt_x"/>
                                          </p:val>
                                        </p:tav>
                                      </p:tavLst>
                                    </p:anim>
                                    <p:anim calcmode="lin" valueType="num">
                                      <p:cBhvr additive="base">
                                        <p:cTn id="30" dur="500" fill="hold"/>
                                        <p:tgtEl>
                                          <p:spTgt spid="24"/>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 calcmode="lin" valueType="num">
                                      <p:cBhvr additive="base">
                                        <p:cTn id="33" dur="500" fill="hold"/>
                                        <p:tgtEl>
                                          <p:spTgt spid="22"/>
                                        </p:tgtEl>
                                        <p:attrNameLst>
                                          <p:attrName>ppt_x</p:attrName>
                                        </p:attrNameLst>
                                      </p:cBhvr>
                                      <p:tavLst>
                                        <p:tav tm="0">
                                          <p:val>
                                            <p:strVal val="0-#ppt_w/2"/>
                                          </p:val>
                                        </p:tav>
                                        <p:tav tm="100000">
                                          <p:val>
                                            <p:strVal val="#ppt_x"/>
                                          </p:val>
                                        </p:tav>
                                      </p:tavLst>
                                    </p:anim>
                                    <p:anim calcmode="lin" valueType="num">
                                      <p:cBhvr additive="base">
                                        <p:cTn id="34" dur="500" fill="hold"/>
                                        <p:tgtEl>
                                          <p:spTgt spid="22"/>
                                        </p:tgtEl>
                                        <p:attrNameLst>
                                          <p:attrName>ppt_y</p:attrName>
                                        </p:attrNameLst>
                                      </p:cBhvr>
                                      <p:tavLst>
                                        <p:tav tm="0">
                                          <p:val>
                                            <p:strVal val="#ppt_y"/>
                                          </p:val>
                                        </p:tav>
                                        <p:tav tm="100000">
                                          <p:val>
                                            <p:strVal val="#ppt_y"/>
                                          </p:val>
                                        </p:tav>
                                      </p:tavLst>
                                    </p:anim>
                                  </p:childTnLst>
                                </p:cTn>
                              </p:par>
                              <p:par>
                                <p:cTn id="35" presetID="2" presetClass="entr" presetSubtype="8"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0-#ppt_w/2"/>
                                          </p:val>
                                        </p:tav>
                                        <p:tav tm="100000">
                                          <p:val>
                                            <p:strVal val="#ppt_x"/>
                                          </p:val>
                                        </p:tav>
                                      </p:tavLst>
                                    </p:anim>
                                    <p:anim calcmode="lin" valueType="num">
                                      <p:cBhvr additive="base">
                                        <p:cTn id="38" dur="500" fill="hold"/>
                                        <p:tgtEl>
                                          <p:spTgt spid="20"/>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0-#ppt_w/2"/>
                                          </p:val>
                                        </p:tav>
                                        <p:tav tm="100000">
                                          <p:val>
                                            <p:strVal val="#ppt_x"/>
                                          </p:val>
                                        </p:tav>
                                      </p:tavLst>
                                    </p:anim>
                                    <p:anim calcmode="lin" valueType="num">
                                      <p:cBhvr additive="base">
                                        <p:cTn id="42" dur="500" fill="hold"/>
                                        <p:tgtEl>
                                          <p:spTgt spid="28"/>
                                        </p:tgtEl>
                                        <p:attrNameLst>
                                          <p:attrName>ppt_y</p:attrName>
                                        </p:attrNameLst>
                                      </p:cBhvr>
                                      <p:tavLst>
                                        <p:tav tm="0">
                                          <p:val>
                                            <p:strVal val="#ppt_y"/>
                                          </p:val>
                                        </p:tav>
                                        <p:tav tm="100000">
                                          <p:val>
                                            <p:strVal val="#ppt_y"/>
                                          </p:val>
                                        </p:tav>
                                      </p:tavLst>
                                    </p:anim>
                                  </p:childTnLst>
                                </p:cTn>
                              </p:par>
                            </p:childTnLst>
                          </p:cTn>
                        </p:par>
                        <p:par>
                          <p:cTn id="43" fill="hold">
                            <p:stCondLst>
                              <p:cond delay="1500"/>
                            </p:stCondLst>
                            <p:childTnLst>
                              <p:par>
                                <p:cTn id="44" presetID="2" presetClass="entr" presetSubtype="6" fill="hold" grpId="0" nodeType="afterEffect">
                                  <p:stCondLst>
                                    <p:cond delay="0"/>
                                  </p:stCondLst>
                                  <p:childTnLst>
                                    <p:set>
                                      <p:cBhvr>
                                        <p:cTn id="45" dur="1" fill="hold">
                                          <p:stCondLst>
                                            <p:cond delay="0"/>
                                          </p:stCondLst>
                                        </p:cTn>
                                        <p:tgtEl>
                                          <p:spTgt spid="43"/>
                                        </p:tgtEl>
                                        <p:attrNameLst>
                                          <p:attrName>style.visibility</p:attrName>
                                        </p:attrNameLst>
                                      </p:cBhvr>
                                      <p:to>
                                        <p:strVal val="visible"/>
                                      </p:to>
                                    </p:set>
                                    <p:anim calcmode="lin" valueType="num">
                                      <p:cBhvr additive="base">
                                        <p:cTn id="46" dur="500" fill="hold"/>
                                        <p:tgtEl>
                                          <p:spTgt spid="43"/>
                                        </p:tgtEl>
                                        <p:attrNameLst>
                                          <p:attrName>ppt_x</p:attrName>
                                        </p:attrNameLst>
                                      </p:cBhvr>
                                      <p:tavLst>
                                        <p:tav tm="0">
                                          <p:val>
                                            <p:strVal val="1+#ppt_w/2"/>
                                          </p:val>
                                        </p:tav>
                                        <p:tav tm="100000">
                                          <p:val>
                                            <p:strVal val="#ppt_x"/>
                                          </p:val>
                                        </p:tav>
                                      </p:tavLst>
                                    </p:anim>
                                    <p:anim calcmode="lin" valueType="num">
                                      <p:cBhvr additive="base">
                                        <p:cTn id="47" dur="500" fill="hold"/>
                                        <p:tgtEl>
                                          <p:spTgt spid="43"/>
                                        </p:tgtEl>
                                        <p:attrNameLst>
                                          <p:attrName>ppt_y</p:attrName>
                                        </p:attrNameLst>
                                      </p:cBhvr>
                                      <p:tavLst>
                                        <p:tav tm="0">
                                          <p:val>
                                            <p:strVal val="1+#ppt_h/2"/>
                                          </p:val>
                                        </p:tav>
                                        <p:tav tm="100000">
                                          <p:val>
                                            <p:strVal val="#ppt_y"/>
                                          </p:val>
                                        </p:tav>
                                      </p:tavLst>
                                    </p:anim>
                                  </p:childTnLst>
                                </p:cTn>
                              </p:par>
                              <p:par>
                                <p:cTn id="48" presetID="2" presetClass="entr" presetSubtype="6" fill="hold" nodeType="withEffect">
                                  <p:stCondLst>
                                    <p:cond delay="0"/>
                                  </p:stCondLst>
                                  <p:childTnLst>
                                    <p:set>
                                      <p:cBhvr>
                                        <p:cTn id="49" dur="1" fill="hold">
                                          <p:stCondLst>
                                            <p:cond delay="0"/>
                                          </p:stCondLst>
                                        </p:cTn>
                                        <p:tgtEl>
                                          <p:spTgt spid="18"/>
                                        </p:tgtEl>
                                        <p:attrNameLst>
                                          <p:attrName>style.visibility</p:attrName>
                                        </p:attrNameLst>
                                      </p:cBhvr>
                                      <p:to>
                                        <p:strVal val="visible"/>
                                      </p:to>
                                    </p:set>
                                    <p:anim calcmode="lin" valueType="num">
                                      <p:cBhvr additive="base">
                                        <p:cTn id="50" dur="500" fill="hold"/>
                                        <p:tgtEl>
                                          <p:spTgt spid="18"/>
                                        </p:tgtEl>
                                        <p:attrNameLst>
                                          <p:attrName>ppt_x</p:attrName>
                                        </p:attrNameLst>
                                      </p:cBhvr>
                                      <p:tavLst>
                                        <p:tav tm="0">
                                          <p:val>
                                            <p:strVal val="1+#ppt_w/2"/>
                                          </p:val>
                                        </p:tav>
                                        <p:tav tm="100000">
                                          <p:val>
                                            <p:strVal val="#ppt_x"/>
                                          </p:val>
                                        </p:tav>
                                      </p:tavLst>
                                    </p:anim>
                                    <p:anim calcmode="lin" valueType="num">
                                      <p:cBhvr additive="base">
                                        <p:cTn id="51" dur="500" fill="hold"/>
                                        <p:tgtEl>
                                          <p:spTgt spid="18"/>
                                        </p:tgtEl>
                                        <p:attrNameLst>
                                          <p:attrName>ppt_y</p:attrName>
                                        </p:attrNameLst>
                                      </p:cBhvr>
                                      <p:tavLst>
                                        <p:tav tm="0">
                                          <p:val>
                                            <p:strVal val="1+#ppt_h/2"/>
                                          </p:val>
                                        </p:tav>
                                        <p:tav tm="100000">
                                          <p:val>
                                            <p:strVal val="#ppt_y"/>
                                          </p:val>
                                        </p:tav>
                                      </p:tavLst>
                                    </p:anim>
                                  </p:childTnLst>
                                </p:cTn>
                              </p:par>
                              <p:par>
                                <p:cTn id="52" presetID="2" presetClass="entr" presetSubtype="6" fill="hold" grpId="0" nodeType="withEffect">
                                  <p:stCondLst>
                                    <p:cond delay="0"/>
                                  </p:stCondLst>
                                  <p:childTnLst>
                                    <p:set>
                                      <p:cBhvr>
                                        <p:cTn id="53" dur="1" fill="hold">
                                          <p:stCondLst>
                                            <p:cond delay="0"/>
                                          </p:stCondLst>
                                        </p:cTn>
                                        <p:tgtEl>
                                          <p:spTgt spid="23"/>
                                        </p:tgtEl>
                                        <p:attrNameLst>
                                          <p:attrName>style.visibility</p:attrName>
                                        </p:attrNameLst>
                                      </p:cBhvr>
                                      <p:to>
                                        <p:strVal val="visible"/>
                                      </p:to>
                                    </p:set>
                                    <p:anim calcmode="lin" valueType="num">
                                      <p:cBhvr additive="base">
                                        <p:cTn id="54" dur="500" fill="hold"/>
                                        <p:tgtEl>
                                          <p:spTgt spid="23"/>
                                        </p:tgtEl>
                                        <p:attrNameLst>
                                          <p:attrName>ppt_x</p:attrName>
                                        </p:attrNameLst>
                                      </p:cBhvr>
                                      <p:tavLst>
                                        <p:tav tm="0">
                                          <p:val>
                                            <p:strVal val="1+#ppt_w/2"/>
                                          </p:val>
                                        </p:tav>
                                        <p:tav tm="100000">
                                          <p:val>
                                            <p:strVal val="#ppt_x"/>
                                          </p:val>
                                        </p:tav>
                                      </p:tavLst>
                                    </p:anim>
                                    <p:anim calcmode="lin" valueType="num">
                                      <p:cBhvr additive="base">
                                        <p:cTn id="55" dur="500" fill="hold"/>
                                        <p:tgtEl>
                                          <p:spTgt spid="23"/>
                                        </p:tgtEl>
                                        <p:attrNameLst>
                                          <p:attrName>ppt_y</p:attrName>
                                        </p:attrNameLst>
                                      </p:cBhvr>
                                      <p:tavLst>
                                        <p:tav tm="0">
                                          <p:val>
                                            <p:strVal val="1+#ppt_h/2"/>
                                          </p:val>
                                        </p:tav>
                                        <p:tav tm="100000">
                                          <p:val>
                                            <p:strVal val="#ppt_y"/>
                                          </p:val>
                                        </p:tav>
                                      </p:tavLst>
                                    </p:anim>
                                  </p:childTnLst>
                                </p:cTn>
                              </p:par>
                            </p:childTnLst>
                          </p:cTn>
                        </p:par>
                        <p:par>
                          <p:cTn id="56" fill="hold">
                            <p:stCondLst>
                              <p:cond delay="2000"/>
                            </p:stCondLst>
                            <p:childTnLst>
                              <p:par>
                                <p:cTn id="57" presetID="2" presetClass="entr" presetSubtype="1" fill="hold" grpId="0" nodeType="afterEffect">
                                  <p:stCondLst>
                                    <p:cond delay="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500" fill="hold"/>
                                        <p:tgtEl>
                                          <p:spTgt spid="27"/>
                                        </p:tgtEl>
                                        <p:attrNameLst>
                                          <p:attrName>ppt_x</p:attrName>
                                        </p:attrNameLst>
                                      </p:cBhvr>
                                      <p:tavLst>
                                        <p:tav tm="0">
                                          <p:val>
                                            <p:strVal val="#ppt_x"/>
                                          </p:val>
                                        </p:tav>
                                        <p:tav tm="100000">
                                          <p:val>
                                            <p:strVal val="#ppt_x"/>
                                          </p:val>
                                        </p:tav>
                                      </p:tavLst>
                                    </p:anim>
                                    <p:anim calcmode="lin" valueType="num">
                                      <p:cBhvr additive="base">
                                        <p:cTn id="60" dur="500" fill="hold"/>
                                        <p:tgtEl>
                                          <p:spTgt spid="27"/>
                                        </p:tgtEl>
                                        <p:attrNameLst>
                                          <p:attrName>ppt_y</p:attrName>
                                        </p:attrNameLst>
                                      </p:cBhvr>
                                      <p:tavLst>
                                        <p:tav tm="0">
                                          <p:val>
                                            <p:strVal val="0-#ppt_h/2"/>
                                          </p:val>
                                        </p:tav>
                                        <p:tav tm="100000">
                                          <p:val>
                                            <p:strVal val="#ppt_y"/>
                                          </p:val>
                                        </p:tav>
                                      </p:tavLst>
                                    </p:anim>
                                  </p:childTnLst>
                                </p:cTn>
                              </p:par>
                              <p:par>
                                <p:cTn id="61" presetID="2" presetClass="entr" presetSubtype="1"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anim calcmode="lin" valueType="num">
                                      <p:cBhvr additive="base">
                                        <p:cTn id="63" dur="500" fill="hold"/>
                                        <p:tgtEl>
                                          <p:spTgt spid="44"/>
                                        </p:tgtEl>
                                        <p:attrNameLst>
                                          <p:attrName>ppt_x</p:attrName>
                                        </p:attrNameLst>
                                      </p:cBhvr>
                                      <p:tavLst>
                                        <p:tav tm="0">
                                          <p:val>
                                            <p:strVal val="#ppt_x"/>
                                          </p:val>
                                        </p:tav>
                                        <p:tav tm="100000">
                                          <p:val>
                                            <p:strVal val="#ppt_x"/>
                                          </p:val>
                                        </p:tav>
                                      </p:tavLst>
                                    </p:anim>
                                    <p:anim calcmode="lin" valueType="num">
                                      <p:cBhvr additive="base">
                                        <p:cTn id="64" dur="500" fill="hold"/>
                                        <p:tgtEl>
                                          <p:spTgt spid="44"/>
                                        </p:tgtEl>
                                        <p:attrNameLst>
                                          <p:attrName>ppt_y</p:attrName>
                                        </p:attrNameLst>
                                      </p:cBhvr>
                                      <p:tavLst>
                                        <p:tav tm="0">
                                          <p:val>
                                            <p:strVal val="0-#ppt_h/2"/>
                                          </p:val>
                                        </p:tav>
                                        <p:tav tm="100000">
                                          <p:val>
                                            <p:strVal val="#ppt_y"/>
                                          </p:val>
                                        </p:tav>
                                      </p:tavLst>
                                    </p:anim>
                                  </p:childTnLst>
                                </p:cTn>
                              </p:par>
                              <p:par>
                                <p:cTn id="65" presetID="2" presetClass="entr" presetSubtype="1" fill="hold" nodeType="withEffect">
                                  <p:stCondLst>
                                    <p:cond delay="0"/>
                                  </p:stCondLst>
                                  <p:childTnLst>
                                    <p:set>
                                      <p:cBhvr>
                                        <p:cTn id="66" dur="1" fill="hold">
                                          <p:stCondLst>
                                            <p:cond delay="0"/>
                                          </p:stCondLst>
                                        </p:cTn>
                                        <p:tgtEl>
                                          <p:spTgt spid="4"/>
                                        </p:tgtEl>
                                        <p:attrNameLst>
                                          <p:attrName>style.visibility</p:attrName>
                                        </p:attrNameLst>
                                      </p:cBhvr>
                                      <p:to>
                                        <p:strVal val="visible"/>
                                      </p:to>
                                    </p:set>
                                    <p:anim calcmode="lin" valueType="num">
                                      <p:cBhvr additive="base">
                                        <p:cTn id="67" dur="500" fill="hold"/>
                                        <p:tgtEl>
                                          <p:spTgt spid="4"/>
                                        </p:tgtEl>
                                        <p:attrNameLst>
                                          <p:attrName>ppt_x</p:attrName>
                                        </p:attrNameLst>
                                      </p:cBhvr>
                                      <p:tavLst>
                                        <p:tav tm="0">
                                          <p:val>
                                            <p:strVal val="#ppt_x"/>
                                          </p:val>
                                        </p:tav>
                                        <p:tav tm="100000">
                                          <p:val>
                                            <p:strVal val="#ppt_x"/>
                                          </p:val>
                                        </p:tav>
                                      </p:tavLst>
                                    </p:anim>
                                    <p:anim calcmode="lin" valueType="num">
                                      <p:cBhvr additive="base">
                                        <p:cTn id="68" dur="500" fill="hold"/>
                                        <p:tgtEl>
                                          <p:spTgt spid="4"/>
                                        </p:tgtEl>
                                        <p:attrNameLst>
                                          <p:attrName>ppt_y</p:attrName>
                                        </p:attrNameLst>
                                      </p:cBhvr>
                                      <p:tavLst>
                                        <p:tav tm="0">
                                          <p:val>
                                            <p:strVal val="0-#ppt_h/2"/>
                                          </p:val>
                                        </p:tav>
                                        <p:tav tm="100000">
                                          <p:val>
                                            <p:strVal val="#ppt_y"/>
                                          </p:val>
                                        </p:tav>
                                      </p:tavLst>
                                    </p:anim>
                                  </p:childTnLst>
                                </p:cTn>
                              </p:par>
                              <p:par>
                                <p:cTn id="69" presetID="2" presetClass="entr" presetSubtype="1" fill="hold" nodeType="withEffect">
                                  <p:stCondLst>
                                    <p:cond delay="0"/>
                                  </p:stCondLst>
                                  <p:childTnLst>
                                    <p:set>
                                      <p:cBhvr>
                                        <p:cTn id="70" dur="1" fill="hold">
                                          <p:stCondLst>
                                            <p:cond delay="0"/>
                                          </p:stCondLst>
                                        </p:cTn>
                                        <p:tgtEl>
                                          <p:spTgt spid="19"/>
                                        </p:tgtEl>
                                        <p:attrNameLst>
                                          <p:attrName>style.visibility</p:attrName>
                                        </p:attrNameLst>
                                      </p:cBhvr>
                                      <p:to>
                                        <p:strVal val="visible"/>
                                      </p:to>
                                    </p:set>
                                    <p:anim calcmode="lin" valueType="num">
                                      <p:cBhvr additive="base">
                                        <p:cTn id="71" dur="500" fill="hold"/>
                                        <p:tgtEl>
                                          <p:spTgt spid="19"/>
                                        </p:tgtEl>
                                        <p:attrNameLst>
                                          <p:attrName>ppt_x</p:attrName>
                                        </p:attrNameLst>
                                      </p:cBhvr>
                                      <p:tavLst>
                                        <p:tav tm="0">
                                          <p:val>
                                            <p:strVal val="#ppt_x"/>
                                          </p:val>
                                        </p:tav>
                                        <p:tav tm="100000">
                                          <p:val>
                                            <p:strVal val="#ppt_x"/>
                                          </p:val>
                                        </p:tav>
                                      </p:tavLst>
                                    </p:anim>
                                    <p:anim calcmode="lin" valueType="num">
                                      <p:cBhvr additive="base">
                                        <p:cTn id="72" dur="500" fill="hold"/>
                                        <p:tgtEl>
                                          <p:spTgt spid="19"/>
                                        </p:tgtEl>
                                        <p:attrNameLst>
                                          <p:attrName>ppt_y</p:attrName>
                                        </p:attrNameLst>
                                      </p:cBhvr>
                                      <p:tavLst>
                                        <p:tav tm="0">
                                          <p:val>
                                            <p:strVal val="0-#ppt_h/2"/>
                                          </p:val>
                                        </p:tav>
                                        <p:tav tm="100000">
                                          <p:val>
                                            <p:strVal val="#ppt_y"/>
                                          </p:val>
                                        </p:tav>
                                      </p:tavLst>
                                    </p:anim>
                                  </p:childTnLst>
                                </p:cTn>
                              </p:par>
                            </p:childTnLst>
                          </p:cTn>
                        </p:par>
                        <p:par>
                          <p:cTn id="73" fill="hold">
                            <p:stCondLst>
                              <p:cond delay="2500"/>
                            </p:stCondLst>
                            <p:childTnLst>
                              <p:par>
                                <p:cTn id="74" presetID="2" presetClass="entr" presetSubtype="3" fill="hold" grpId="0" nodeType="afterEffect">
                                  <p:stCondLst>
                                    <p:cond delay="0"/>
                                  </p:stCondLst>
                                  <p:childTnLst>
                                    <p:set>
                                      <p:cBhvr>
                                        <p:cTn id="75" dur="1" fill="hold">
                                          <p:stCondLst>
                                            <p:cond delay="0"/>
                                          </p:stCondLst>
                                        </p:cTn>
                                        <p:tgtEl>
                                          <p:spTgt spid="29"/>
                                        </p:tgtEl>
                                        <p:attrNameLst>
                                          <p:attrName>style.visibility</p:attrName>
                                        </p:attrNameLst>
                                      </p:cBhvr>
                                      <p:to>
                                        <p:strVal val="visible"/>
                                      </p:to>
                                    </p:set>
                                    <p:anim calcmode="lin" valueType="num">
                                      <p:cBhvr additive="base">
                                        <p:cTn id="76" dur="500" fill="hold"/>
                                        <p:tgtEl>
                                          <p:spTgt spid="29"/>
                                        </p:tgtEl>
                                        <p:attrNameLst>
                                          <p:attrName>ppt_x</p:attrName>
                                        </p:attrNameLst>
                                      </p:cBhvr>
                                      <p:tavLst>
                                        <p:tav tm="0">
                                          <p:val>
                                            <p:strVal val="1+#ppt_w/2"/>
                                          </p:val>
                                        </p:tav>
                                        <p:tav tm="100000">
                                          <p:val>
                                            <p:strVal val="#ppt_x"/>
                                          </p:val>
                                        </p:tav>
                                      </p:tavLst>
                                    </p:anim>
                                    <p:anim calcmode="lin" valueType="num">
                                      <p:cBhvr additive="base">
                                        <p:cTn id="77" dur="500" fill="hold"/>
                                        <p:tgtEl>
                                          <p:spTgt spid="29"/>
                                        </p:tgtEl>
                                        <p:attrNameLst>
                                          <p:attrName>ppt_y</p:attrName>
                                        </p:attrNameLst>
                                      </p:cBhvr>
                                      <p:tavLst>
                                        <p:tav tm="0">
                                          <p:val>
                                            <p:strVal val="0-#ppt_h/2"/>
                                          </p:val>
                                        </p:tav>
                                        <p:tav tm="100000">
                                          <p:val>
                                            <p:strVal val="#ppt_y"/>
                                          </p:val>
                                        </p:tav>
                                      </p:tavLst>
                                    </p:anim>
                                  </p:childTnLst>
                                </p:cTn>
                              </p:par>
                              <p:par>
                                <p:cTn id="78" presetID="2" presetClass="entr" presetSubtype="3"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 calcmode="lin" valueType="num">
                                      <p:cBhvr additive="base">
                                        <p:cTn id="80" dur="500" fill="hold"/>
                                        <p:tgtEl>
                                          <p:spTgt spid="30"/>
                                        </p:tgtEl>
                                        <p:attrNameLst>
                                          <p:attrName>ppt_x</p:attrName>
                                        </p:attrNameLst>
                                      </p:cBhvr>
                                      <p:tavLst>
                                        <p:tav tm="0">
                                          <p:val>
                                            <p:strVal val="1+#ppt_w/2"/>
                                          </p:val>
                                        </p:tav>
                                        <p:tav tm="100000">
                                          <p:val>
                                            <p:strVal val="#ppt_x"/>
                                          </p:val>
                                        </p:tav>
                                      </p:tavLst>
                                    </p:anim>
                                    <p:anim calcmode="lin" valueType="num">
                                      <p:cBhvr additive="base">
                                        <p:cTn id="81" dur="500" fill="hold"/>
                                        <p:tgtEl>
                                          <p:spTgt spid="30"/>
                                        </p:tgtEl>
                                        <p:attrNameLst>
                                          <p:attrName>ppt_y</p:attrName>
                                        </p:attrNameLst>
                                      </p:cBhvr>
                                      <p:tavLst>
                                        <p:tav tm="0">
                                          <p:val>
                                            <p:strVal val="0-#ppt_h/2"/>
                                          </p:val>
                                        </p:tav>
                                        <p:tav tm="100000">
                                          <p:val>
                                            <p:strVal val="#ppt_y"/>
                                          </p:val>
                                        </p:tav>
                                      </p:tavLst>
                                    </p:anim>
                                  </p:childTnLst>
                                </p:cTn>
                              </p:par>
                              <p:par>
                                <p:cTn id="82" presetID="2" presetClass="entr" presetSubtype="3" fill="hold" nodeType="withEffect">
                                  <p:stCondLst>
                                    <p:cond delay="0"/>
                                  </p:stCondLst>
                                  <p:childTnLst>
                                    <p:set>
                                      <p:cBhvr>
                                        <p:cTn id="83" dur="1" fill="hold">
                                          <p:stCondLst>
                                            <p:cond delay="0"/>
                                          </p:stCondLst>
                                        </p:cTn>
                                        <p:tgtEl>
                                          <p:spTgt spid="3"/>
                                        </p:tgtEl>
                                        <p:attrNameLst>
                                          <p:attrName>style.visibility</p:attrName>
                                        </p:attrNameLst>
                                      </p:cBhvr>
                                      <p:to>
                                        <p:strVal val="visible"/>
                                      </p:to>
                                    </p:set>
                                    <p:anim calcmode="lin" valueType="num">
                                      <p:cBhvr additive="base">
                                        <p:cTn id="84" dur="500" fill="hold"/>
                                        <p:tgtEl>
                                          <p:spTgt spid="3"/>
                                        </p:tgtEl>
                                        <p:attrNameLst>
                                          <p:attrName>ppt_x</p:attrName>
                                        </p:attrNameLst>
                                      </p:cBhvr>
                                      <p:tavLst>
                                        <p:tav tm="0">
                                          <p:val>
                                            <p:strVal val="1+#ppt_w/2"/>
                                          </p:val>
                                        </p:tav>
                                        <p:tav tm="100000">
                                          <p:val>
                                            <p:strVal val="#ppt_x"/>
                                          </p:val>
                                        </p:tav>
                                      </p:tavLst>
                                    </p:anim>
                                    <p:anim calcmode="lin" valueType="num">
                                      <p:cBhvr additive="base">
                                        <p:cTn id="85" dur="500" fill="hold"/>
                                        <p:tgtEl>
                                          <p:spTgt spid="3"/>
                                        </p:tgtEl>
                                        <p:attrNameLst>
                                          <p:attrName>ppt_y</p:attrName>
                                        </p:attrNameLst>
                                      </p:cBhvr>
                                      <p:tavLst>
                                        <p:tav tm="0">
                                          <p:val>
                                            <p:strVal val="0-#ppt_h/2"/>
                                          </p:val>
                                        </p:tav>
                                        <p:tav tm="100000">
                                          <p:val>
                                            <p:strVal val="#ppt_y"/>
                                          </p:val>
                                        </p:tav>
                                      </p:tavLst>
                                    </p:anim>
                                  </p:childTnLst>
                                </p:cTn>
                              </p:par>
                              <p:par>
                                <p:cTn id="86" presetID="2" presetClass="entr" presetSubtype="3" fill="hold" nodeType="withEffect">
                                  <p:stCondLst>
                                    <p:cond delay="0"/>
                                  </p:stCondLst>
                                  <p:childTnLst>
                                    <p:set>
                                      <p:cBhvr>
                                        <p:cTn id="87" dur="1" fill="hold">
                                          <p:stCondLst>
                                            <p:cond delay="0"/>
                                          </p:stCondLst>
                                        </p:cTn>
                                        <p:tgtEl>
                                          <p:spTgt spid="31"/>
                                        </p:tgtEl>
                                        <p:attrNameLst>
                                          <p:attrName>style.visibility</p:attrName>
                                        </p:attrNameLst>
                                      </p:cBhvr>
                                      <p:to>
                                        <p:strVal val="visible"/>
                                      </p:to>
                                    </p:set>
                                    <p:anim calcmode="lin" valueType="num">
                                      <p:cBhvr additive="base">
                                        <p:cTn id="88" dur="500" fill="hold"/>
                                        <p:tgtEl>
                                          <p:spTgt spid="31"/>
                                        </p:tgtEl>
                                        <p:attrNameLst>
                                          <p:attrName>ppt_x</p:attrName>
                                        </p:attrNameLst>
                                      </p:cBhvr>
                                      <p:tavLst>
                                        <p:tav tm="0">
                                          <p:val>
                                            <p:strVal val="1+#ppt_w/2"/>
                                          </p:val>
                                        </p:tav>
                                        <p:tav tm="100000">
                                          <p:val>
                                            <p:strVal val="#ppt_x"/>
                                          </p:val>
                                        </p:tav>
                                      </p:tavLst>
                                    </p:anim>
                                    <p:anim calcmode="lin" valueType="num">
                                      <p:cBhvr additive="base">
                                        <p:cTn id="89" dur="500" fill="hold"/>
                                        <p:tgtEl>
                                          <p:spTgt spid="31"/>
                                        </p:tgtEl>
                                        <p:attrNameLst>
                                          <p:attrName>ppt_y</p:attrName>
                                        </p:attrNameLst>
                                      </p:cBhvr>
                                      <p:tavLst>
                                        <p:tav tm="0">
                                          <p:val>
                                            <p:strVal val="0-#ppt_h/2"/>
                                          </p:val>
                                        </p:tav>
                                        <p:tav tm="100000">
                                          <p:val>
                                            <p:strVal val="#ppt_y"/>
                                          </p:val>
                                        </p:tav>
                                      </p:tavLst>
                                    </p:anim>
                                  </p:childTnLst>
                                </p:cTn>
                              </p:par>
                            </p:childTnLst>
                          </p:cTn>
                        </p:par>
                        <p:par>
                          <p:cTn id="90" fill="hold">
                            <p:stCondLst>
                              <p:cond delay="3000"/>
                            </p:stCondLst>
                            <p:childTnLst>
                              <p:par>
                                <p:cTn id="91" presetID="2" presetClass="entr" presetSubtype="9" fill="hold" grpId="0" nodeType="afterEffect">
                                  <p:stCondLst>
                                    <p:cond delay="0"/>
                                  </p:stCondLst>
                                  <p:childTnLst>
                                    <p:set>
                                      <p:cBhvr>
                                        <p:cTn id="92" dur="1" fill="hold">
                                          <p:stCondLst>
                                            <p:cond delay="0"/>
                                          </p:stCondLst>
                                        </p:cTn>
                                        <p:tgtEl>
                                          <p:spTgt spid="42"/>
                                        </p:tgtEl>
                                        <p:attrNameLst>
                                          <p:attrName>style.visibility</p:attrName>
                                        </p:attrNameLst>
                                      </p:cBhvr>
                                      <p:to>
                                        <p:strVal val="visible"/>
                                      </p:to>
                                    </p:set>
                                    <p:anim calcmode="lin" valueType="num">
                                      <p:cBhvr additive="base">
                                        <p:cTn id="93" dur="500" fill="hold"/>
                                        <p:tgtEl>
                                          <p:spTgt spid="42"/>
                                        </p:tgtEl>
                                        <p:attrNameLst>
                                          <p:attrName>ppt_x</p:attrName>
                                        </p:attrNameLst>
                                      </p:cBhvr>
                                      <p:tavLst>
                                        <p:tav tm="0">
                                          <p:val>
                                            <p:strVal val="0-#ppt_w/2"/>
                                          </p:val>
                                        </p:tav>
                                        <p:tav tm="100000">
                                          <p:val>
                                            <p:strVal val="#ppt_x"/>
                                          </p:val>
                                        </p:tav>
                                      </p:tavLst>
                                    </p:anim>
                                    <p:anim calcmode="lin" valueType="num">
                                      <p:cBhvr additive="base">
                                        <p:cTn id="94" dur="500" fill="hold"/>
                                        <p:tgtEl>
                                          <p:spTgt spid="42"/>
                                        </p:tgtEl>
                                        <p:attrNameLst>
                                          <p:attrName>ppt_y</p:attrName>
                                        </p:attrNameLst>
                                      </p:cBhvr>
                                      <p:tavLst>
                                        <p:tav tm="0">
                                          <p:val>
                                            <p:strVal val="0-#ppt_h/2"/>
                                          </p:val>
                                        </p:tav>
                                        <p:tav tm="100000">
                                          <p:val>
                                            <p:strVal val="#ppt_y"/>
                                          </p:val>
                                        </p:tav>
                                      </p:tavLst>
                                    </p:anim>
                                  </p:childTnLst>
                                </p:cTn>
                              </p:par>
                              <p:par>
                                <p:cTn id="95" presetID="2" presetClass="entr" presetSubtype="9" fill="hold" nodeType="withEffect">
                                  <p:stCondLst>
                                    <p:cond delay="0"/>
                                  </p:stCondLst>
                                  <p:childTnLst>
                                    <p:set>
                                      <p:cBhvr>
                                        <p:cTn id="96" dur="1" fill="hold">
                                          <p:stCondLst>
                                            <p:cond delay="0"/>
                                          </p:stCondLst>
                                        </p:cTn>
                                        <p:tgtEl>
                                          <p:spTgt spid="41"/>
                                        </p:tgtEl>
                                        <p:attrNameLst>
                                          <p:attrName>style.visibility</p:attrName>
                                        </p:attrNameLst>
                                      </p:cBhvr>
                                      <p:to>
                                        <p:strVal val="visible"/>
                                      </p:to>
                                    </p:set>
                                    <p:anim calcmode="lin" valueType="num">
                                      <p:cBhvr additive="base">
                                        <p:cTn id="97" dur="500" fill="hold"/>
                                        <p:tgtEl>
                                          <p:spTgt spid="41"/>
                                        </p:tgtEl>
                                        <p:attrNameLst>
                                          <p:attrName>ppt_x</p:attrName>
                                        </p:attrNameLst>
                                      </p:cBhvr>
                                      <p:tavLst>
                                        <p:tav tm="0">
                                          <p:val>
                                            <p:strVal val="0-#ppt_w/2"/>
                                          </p:val>
                                        </p:tav>
                                        <p:tav tm="100000">
                                          <p:val>
                                            <p:strVal val="#ppt_x"/>
                                          </p:val>
                                        </p:tav>
                                      </p:tavLst>
                                    </p:anim>
                                    <p:anim calcmode="lin" valueType="num">
                                      <p:cBhvr additive="base">
                                        <p:cTn id="98" dur="500" fill="hold"/>
                                        <p:tgtEl>
                                          <p:spTgt spid="41"/>
                                        </p:tgtEl>
                                        <p:attrNameLst>
                                          <p:attrName>ppt_y</p:attrName>
                                        </p:attrNameLst>
                                      </p:cBhvr>
                                      <p:tavLst>
                                        <p:tav tm="0">
                                          <p:val>
                                            <p:strVal val="0-#ppt_h/2"/>
                                          </p:val>
                                        </p:tav>
                                        <p:tav tm="100000">
                                          <p:val>
                                            <p:strVal val="#ppt_y"/>
                                          </p:val>
                                        </p:tav>
                                      </p:tavLst>
                                    </p:anim>
                                  </p:childTnLst>
                                </p:cTn>
                              </p:par>
                              <p:par>
                                <p:cTn id="99" presetID="2" presetClass="entr" presetSubtype="9" fill="hold" nodeType="withEffect">
                                  <p:stCondLst>
                                    <p:cond delay="0"/>
                                  </p:stCondLst>
                                  <p:childTnLst>
                                    <p:set>
                                      <p:cBhvr>
                                        <p:cTn id="100" dur="1" fill="hold">
                                          <p:stCondLst>
                                            <p:cond delay="0"/>
                                          </p:stCondLst>
                                        </p:cTn>
                                        <p:tgtEl>
                                          <p:spTgt spid="35"/>
                                        </p:tgtEl>
                                        <p:attrNameLst>
                                          <p:attrName>style.visibility</p:attrName>
                                        </p:attrNameLst>
                                      </p:cBhvr>
                                      <p:to>
                                        <p:strVal val="visible"/>
                                      </p:to>
                                    </p:set>
                                    <p:anim calcmode="lin" valueType="num">
                                      <p:cBhvr additive="base">
                                        <p:cTn id="101" dur="500" fill="hold"/>
                                        <p:tgtEl>
                                          <p:spTgt spid="35"/>
                                        </p:tgtEl>
                                        <p:attrNameLst>
                                          <p:attrName>ppt_x</p:attrName>
                                        </p:attrNameLst>
                                      </p:cBhvr>
                                      <p:tavLst>
                                        <p:tav tm="0">
                                          <p:val>
                                            <p:strVal val="0-#ppt_w/2"/>
                                          </p:val>
                                        </p:tav>
                                        <p:tav tm="100000">
                                          <p:val>
                                            <p:strVal val="#ppt_x"/>
                                          </p:val>
                                        </p:tav>
                                      </p:tavLst>
                                    </p:anim>
                                    <p:anim calcmode="lin" valueType="num">
                                      <p:cBhvr additive="base">
                                        <p:cTn id="102" dur="500" fill="hold"/>
                                        <p:tgtEl>
                                          <p:spTgt spid="35"/>
                                        </p:tgtEl>
                                        <p:attrNameLst>
                                          <p:attrName>ppt_y</p:attrName>
                                        </p:attrNameLst>
                                      </p:cBhvr>
                                      <p:tavLst>
                                        <p:tav tm="0">
                                          <p:val>
                                            <p:strVal val="0-#ppt_h/2"/>
                                          </p:val>
                                        </p:tav>
                                        <p:tav tm="100000">
                                          <p:val>
                                            <p:strVal val="#ppt_y"/>
                                          </p:val>
                                        </p:tav>
                                      </p:tavLst>
                                    </p:anim>
                                  </p:childTnLst>
                                </p:cTn>
                              </p:par>
                              <p:par>
                                <p:cTn id="103" presetID="2" presetClass="entr" presetSubtype="9" fill="hold" nodeType="withEffect">
                                  <p:stCondLst>
                                    <p:cond delay="0"/>
                                  </p:stCondLst>
                                  <p:childTnLst>
                                    <p:set>
                                      <p:cBhvr>
                                        <p:cTn id="104" dur="1" fill="hold">
                                          <p:stCondLst>
                                            <p:cond delay="0"/>
                                          </p:stCondLst>
                                        </p:cTn>
                                        <p:tgtEl>
                                          <p:spTgt spid="32"/>
                                        </p:tgtEl>
                                        <p:attrNameLst>
                                          <p:attrName>style.visibility</p:attrName>
                                        </p:attrNameLst>
                                      </p:cBhvr>
                                      <p:to>
                                        <p:strVal val="visible"/>
                                      </p:to>
                                    </p:set>
                                    <p:anim calcmode="lin" valueType="num">
                                      <p:cBhvr additive="base">
                                        <p:cTn id="105" dur="500" fill="hold"/>
                                        <p:tgtEl>
                                          <p:spTgt spid="32"/>
                                        </p:tgtEl>
                                        <p:attrNameLst>
                                          <p:attrName>ppt_x</p:attrName>
                                        </p:attrNameLst>
                                      </p:cBhvr>
                                      <p:tavLst>
                                        <p:tav tm="0">
                                          <p:val>
                                            <p:strVal val="0-#ppt_w/2"/>
                                          </p:val>
                                        </p:tav>
                                        <p:tav tm="100000">
                                          <p:val>
                                            <p:strVal val="#ppt_x"/>
                                          </p:val>
                                        </p:tav>
                                      </p:tavLst>
                                    </p:anim>
                                    <p:anim calcmode="lin" valueType="num">
                                      <p:cBhvr additive="base">
                                        <p:cTn id="106" dur="500" fill="hold"/>
                                        <p:tgtEl>
                                          <p:spTgt spid="32"/>
                                        </p:tgtEl>
                                        <p:attrNameLst>
                                          <p:attrName>ppt_y</p:attrName>
                                        </p:attrNameLst>
                                      </p:cBhvr>
                                      <p:tavLst>
                                        <p:tav tm="0">
                                          <p:val>
                                            <p:strVal val="0-#ppt_h/2"/>
                                          </p:val>
                                        </p:tav>
                                        <p:tav tm="100000">
                                          <p:val>
                                            <p:strVal val="#ppt_y"/>
                                          </p:val>
                                        </p:tav>
                                      </p:tavLst>
                                    </p:anim>
                                  </p:childTnLst>
                                </p:cTn>
                              </p:par>
                              <p:par>
                                <p:cTn id="107" presetID="2" presetClass="entr" presetSubtype="9" fill="hold" grpId="0" nodeType="withEffect">
                                  <p:stCondLst>
                                    <p:cond delay="0"/>
                                  </p:stCondLst>
                                  <p:childTnLst>
                                    <p:set>
                                      <p:cBhvr>
                                        <p:cTn id="108" dur="1" fill="hold">
                                          <p:stCondLst>
                                            <p:cond delay="0"/>
                                          </p:stCondLst>
                                        </p:cTn>
                                        <p:tgtEl>
                                          <p:spTgt spid="36"/>
                                        </p:tgtEl>
                                        <p:attrNameLst>
                                          <p:attrName>style.visibility</p:attrName>
                                        </p:attrNameLst>
                                      </p:cBhvr>
                                      <p:to>
                                        <p:strVal val="visible"/>
                                      </p:to>
                                    </p:set>
                                    <p:anim calcmode="lin" valueType="num">
                                      <p:cBhvr additive="base">
                                        <p:cTn id="109" dur="500" fill="hold"/>
                                        <p:tgtEl>
                                          <p:spTgt spid="36"/>
                                        </p:tgtEl>
                                        <p:attrNameLst>
                                          <p:attrName>ppt_x</p:attrName>
                                        </p:attrNameLst>
                                      </p:cBhvr>
                                      <p:tavLst>
                                        <p:tav tm="0">
                                          <p:val>
                                            <p:strVal val="0-#ppt_w/2"/>
                                          </p:val>
                                        </p:tav>
                                        <p:tav tm="100000">
                                          <p:val>
                                            <p:strVal val="#ppt_x"/>
                                          </p:val>
                                        </p:tav>
                                      </p:tavLst>
                                    </p:anim>
                                    <p:anim calcmode="lin" valueType="num">
                                      <p:cBhvr additive="base">
                                        <p:cTn id="110" dur="500" fill="hold"/>
                                        <p:tgtEl>
                                          <p:spTgt spid="36"/>
                                        </p:tgtEl>
                                        <p:attrNameLst>
                                          <p:attrName>ppt_y</p:attrName>
                                        </p:attrNameLst>
                                      </p:cBhvr>
                                      <p:tavLst>
                                        <p:tav tm="0">
                                          <p:val>
                                            <p:strVal val="0-#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0" nodeType="clickEffect">
                                  <p:stCondLst>
                                    <p:cond delay="0"/>
                                  </p:stCondLst>
                                  <p:childTnLst>
                                    <p:set>
                                      <p:cBhvr>
                                        <p:cTn id="114" dur="1" fill="hold">
                                          <p:stCondLst>
                                            <p:cond delay="0"/>
                                          </p:stCondLst>
                                        </p:cTn>
                                        <p:tgtEl>
                                          <p:spTgt spid="46"/>
                                        </p:tgtEl>
                                        <p:attrNameLst>
                                          <p:attrName>style.visibility</p:attrName>
                                        </p:attrNameLst>
                                      </p:cBhvr>
                                      <p:to>
                                        <p:strVal val="visible"/>
                                      </p:to>
                                    </p:set>
                                    <p:animEffect transition="in" filter="fade">
                                      <p:cBhvr>
                                        <p:cTn id="115" dur="500"/>
                                        <p:tgtEl>
                                          <p:spTgt spid="46"/>
                                        </p:tgtEl>
                                      </p:cBhvr>
                                    </p:animEffect>
                                  </p:childTnLst>
                                </p:cTn>
                              </p:par>
                            </p:childTnLst>
                          </p:cTn>
                        </p:par>
                        <p:par>
                          <p:cTn id="116" fill="hold">
                            <p:stCondLst>
                              <p:cond delay="500"/>
                            </p:stCondLst>
                            <p:childTnLst>
                              <p:par>
                                <p:cTn id="117" presetID="10" presetClass="entr" presetSubtype="0" fill="hold" grpId="0" nodeType="afterEffect">
                                  <p:stCondLst>
                                    <p:cond delay="0"/>
                                  </p:stCondLst>
                                  <p:childTnLst>
                                    <p:set>
                                      <p:cBhvr>
                                        <p:cTn id="118" dur="1" fill="hold">
                                          <p:stCondLst>
                                            <p:cond delay="0"/>
                                          </p:stCondLst>
                                        </p:cTn>
                                        <p:tgtEl>
                                          <p:spTgt spid="25"/>
                                        </p:tgtEl>
                                        <p:attrNameLst>
                                          <p:attrName>style.visibility</p:attrName>
                                        </p:attrNameLst>
                                      </p:cBhvr>
                                      <p:to>
                                        <p:strVal val="visible"/>
                                      </p:to>
                                    </p:set>
                                    <p:animEffect transition="in" filter="fade">
                                      <p:cBhvr>
                                        <p:cTn id="1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7" grpId="0" animBg="1"/>
      <p:bldP spid="29" grpId="0" animBg="1"/>
      <p:bldP spid="30" grpId="0" animBg="1"/>
      <p:bldP spid="36" grpId="0" animBg="1"/>
      <p:bldP spid="38" grpId="0" animBg="1"/>
      <p:bldP spid="40" grpId="0" animBg="1"/>
      <p:bldP spid="42" grpId="0" animBg="1"/>
      <p:bldP spid="43" grpId="0" animBg="1"/>
      <p:bldP spid="44" grpId="0" animBg="1"/>
      <p:bldP spid="25" grpId="0" animBg="1"/>
      <p:bldP spid="4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823732"/>
            <a:ext cx="9144000" cy="1200329"/>
          </a:xfrm>
        </p:spPr>
        <p:txBody>
          <a:bodyPr/>
          <a:lstStyle/>
          <a:p>
            <a:r>
              <a:rPr lang="en-US" sz="4400" b="1" dirty="0"/>
              <a:t>CSDS Interview Research</a:t>
            </a:r>
            <a:br>
              <a:rPr lang="en-US" sz="4400" b="1" dirty="0"/>
            </a:br>
            <a:r>
              <a:rPr lang="en-US" sz="2800" dirty="0"/>
              <a:t>What Type of Data Science is CSDS?</a:t>
            </a:r>
            <a:endParaRPr lang="en-US" sz="2400" dirty="0"/>
          </a:p>
        </p:txBody>
      </p:sp>
    </p:spTree>
    <p:extLst>
      <p:ext uri="{BB962C8B-B14F-4D97-AF65-F5344CB8AC3E}">
        <p14:creationId xmlns:p14="http://schemas.microsoft.com/office/powerpoint/2010/main" val="37390508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DB95AD-F12D-4F05-9B41-2FCB8880447F}"/>
              </a:ext>
            </a:extLst>
          </p:cNvPr>
          <p:cNvSpPr>
            <a:spLocks noGrp="1"/>
          </p:cNvSpPr>
          <p:nvPr>
            <p:ph type="title"/>
          </p:nvPr>
        </p:nvSpPr>
        <p:spPr/>
        <p:txBody>
          <a:bodyPr/>
          <a:lstStyle/>
          <a:p>
            <a:r>
              <a:rPr lang="en-US" b="1" dirty="0"/>
              <a:t>Participants - Sample</a:t>
            </a:r>
          </a:p>
        </p:txBody>
      </p:sp>
      <p:sp>
        <p:nvSpPr>
          <p:cNvPr id="4" name="Content Placeholder 3">
            <a:extLst>
              <a:ext uri="{FF2B5EF4-FFF2-40B4-BE49-F238E27FC236}">
                <a16:creationId xmlns:a16="http://schemas.microsoft.com/office/drawing/2014/main" xmlns="" id="{A5ED9976-98AB-4337-A21F-281F1D08E940}"/>
              </a:ext>
            </a:extLst>
          </p:cNvPr>
          <p:cNvSpPr>
            <a:spLocks noGrp="1"/>
          </p:cNvSpPr>
          <p:nvPr>
            <p:ph sz="quarter" idx="11"/>
          </p:nvPr>
        </p:nvSpPr>
        <p:spPr>
          <a:xfrm>
            <a:off x="626364" y="1241946"/>
            <a:ext cx="7891272" cy="3709530"/>
          </a:xfrm>
        </p:spPr>
        <p:txBody>
          <a:bodyPr/>
          <a:lstStyle/>
          <a:p>
            <a:r>
              <a:rPr lang="en-US" sz="2800" b="1" dirty="0"/>
              <a:t>Linked-In search </a:t>
            </a:r>
          </a:p>
          <a:p>
            <a:pPr lvl="1"/>
            <a:r>
              <a:rPr lang="en-US" sz="2600" dirty="0"/>
              <a:t>‘cybersecurity’ + (‘data scientist’ or ‘analytics’)</a:t>
            </a:r>
          </a:p>
          <a:p>
            <a:r>
              <a:rPr lang="en-US" sz="2800" b="1" dirty="0"/>
              <a:t>~350 professionals globally</a:t>
            </a:r>
          </a:p>
          <a:p>
            <a:pPr lvl="1"/>
            <a:r>
              <a:rPr lang="en-US" sz="2600" dirty="0"/>
              <a:t>Direct outreach</a:t>
            </a:r>
          </a:p>
          <a:p>
            <a:pPr lvl="1"/>
            <a:r>
              <a:rPr lang="en-US" sz="2600" dirty="0"/>
              <a:t>Follow-on referrals </a:t>
            </a:r>
          </a:p>
          <a:p>
            <a:r>
              <a:rPr lang="en-US" sz="2800" b="1" dirty="0"/>
              <a:t>Gating to exclude ‘ceremonial CSDS’ </a:t>
            </a:r>
          </a:p>
          <a:p>
            <a:pPr lvl="1"/>
            <a:r>
              <a:rPr lang="en-US" sz="2000" dirty="0"/>
              <a:t>i.e. sales, recruiting, marketing, technology strategists</a:t>
            </a:r>
          </a:p>
          <a:p>
            <a:pPr marL="182880" lvl="1" indent="0">
              <a:buNone/>
            </a:pPr>
            <a:endParaRPr lang="en-US" sz="600" dirty="0"/>
          </a:p>
        </p:txBody>
      </p:sp>
      <p:sp>
        <p:nvSpPr>
          <p:cNvPr id="5" name="Text Placeholder 2">
            <a:extLst>
              <a:ext uri="{FF2B5EF4-FFF2-40B4-BE49-F238E27FC236}">
                <a16:creationId xmlns:a16="http://schemas.microsoft.com/office/drawing/2014/main" xmlns="" id="{0EF4E4D1-10EA-4695-AA86-AC32B1AB64CE}"/>
              </a:ext>
            </a:extLst>
          </p:cNvPr>
          <p:cNvSpPr>
            <a:spLocks noGrp="1"/>
          </p:cNvSpPr>
          <p:nvPr>
            <p:ph type="body" sz="quarter" idx="12"/>
          </p:nvPr>
        </p:nvSpPr>
        <p:spPr>
          <a:xfrm flipH="1">
            <a:off x="626364" y="640080"/>
            <a:ext cx="7891272" cy="274320"/>
          </a:xfrm>
        </p:spPr>
        <p:txBody>
          <a:bodyPr/>
          <a:lstStyle/>
          <a:p>
            <a:r>
              <a:rPr lang="en-US" sz="2000" dirty="0"/>
              <a:t>43 participants + 130 years collective CSDS experience (3 </a:t>
            </a:r>
            <a:r>
              <a:rPr lang="en-US" sz="2000" dirty="0" err="1"/>
              <a:t>yr</a:t>
            </a:r>
            <a:r>
              <a:rPr lang="en-US" sz="2000" dirty="0"/>
              <a:t> mean)</a:t>
            </a:r>
          </a:p>
        </p:txBody>
      </p:sp>
    </p:spTree>
    <p:extLst>
      <p:ext uri="{BB962C8B-B14F-4D97-AF65-F5344CB8AC3E}">
        <p14:creationId xmlns:p14="http://schemas.microsoft.com/office/powerpoint/2010/main" val="14149851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A59AE3-4A1A-463C-8AA2-2F4B4F96492B}"/>
              </a:ext>
            </a:extLst>
          </p:cNvPr>
          <p:cNvSpPr>
            <a:spLocks noGrp="1"/>
          </p:cNvSpPr>
          <p:nvPr>
            <p:ph type="title"/>
          </p:nvPr>
        </p:nvSpPr>
        <p:spPr>
          <a:xfrm>
            <a:off x="626364" y="91125"/>
            <a:ext cx="7891272" cy="457200"/>
          </a:xfrm>
        </p:spPr>
        <p:txBody>
          <a:bodyPr/>
          <a:lstStyle/>
          <a:p>
            <a:r>
              <a:rPr lang="en-US" b="1" dirty="0"/>
              <a:t>Demographic Profile (n=43)</a:t>
            </a:r>
          </a:p>
        </p:txBody>
      </p:sp>
      <p:pic>
        <p:nvPicPr>
          <p:cNvPr id="3" name="Picture 2">
            <a:extLst>
              <a:ext uri="{FF2B5EF4-FFF2-40B4-BE49-F238E27FC236}">
                <a16:creationId xmlns:a16="http://schemas.microsoft.com/office/drawing/2014/main" xmlns="" id="{5962422F-8074-4AD1-8334-C981C75DCA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436" y="826602"/>
            <a:ext cx="1683685" cy="2144179"/>
          </a:xfrm>
          <a:prstGeom prst="rect">
            <a:avLst/>
          </a:prstGeom>
        </p:spPr>
      </p:pic>
      <p:pic>
        <p:nvPicPr>
          <p:cNvPr id="8" name="Picture 7">
            <a:extLst>
              <a:ext uri="{FF2B5EF4-FFF2-40B4-BE49-F238E27FC236}">
                <a16:creationId xmlns:a16="http://schemas.microsoft.com/office/drawing/2014/main" xmlns="" id="{07B1FC08-750C-4452-A34E-40D783E3D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7328" y="822796"/>
            <a:ext cx="1803295" cy="2027857"/>
          </a:xfrm>
          <a:prstGeom prst="rect">
            <a:avLst/>
          </a:prstGeom>
        </p:spPr>
      </p:pic>
      <p:sp>
        <p:nvSpPr>
          <p:cNvPr id="9" name="TextBox 8">
            <a:extLst>
              <a:ext uri="{FF2B5EF4-FFF2-40B4-BE49-F238E27FC236}">
                <a16:creationId xmlns:a16="http://schemas.microsoft.com/office/drawing/2014/main" xmlns="" id="{A030FF50-CF65-4962-90A7-EEB4022A08B2}"/>
              </a:ext>
            </a:extLst>
          </p:cNvPr>
          <p:cNvSpPr txBox="1"/>
          <p:nvPr/>
        </p:nvSpPr>
        <p:spPr>
          <a:xfrm>
            <a:off x="612981" y="509201"/>
            <a:ext cx="1398140"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Current Region</a:t>
            </a:r>
          </a:p>
        </p:txBody>
      </p:sp>
      <p:sp>
        <p:nvSpPr>
          <p:cNvPr id="10" name="TextBox 9">
            <a:extLst>
              <a:ext uri="{FF2B5EF4-FFF2-40B4-BE49-F238E27FC236}">
                <a16:creationId xmlns:a16="http://schemas.microsoft.com/office/drawing/2014/main" xmlns="" id="{9D0D9042-20B3-490C-A526-00A8F7A54FB3}"/>
              </a:ext>
            </a:extLst>
          </p:cNvPr>
          <p:cNvSpPr txBox="1"/>
          <p:nvPr/>
        </p:nvSpPr>
        <p:spPr>
          <a:xfrm>
            <a:off x="305162" y="4556903"/>
            <a:ext cx="1846980" cy="461665"/>
          </a:xfrm>
          <a:prstGeom prst="rect">
            <a:avLst/>
          </a:prstGeom>
          <a:noFill/>
        </p:spPr>
        <p:txBody>
          <a:bodyPr wrap="none" rtlCol="0">
            <a:spAutoFit/>
          </a:bodyPr>
          <a:lstStyle/>
          <a:p>
            <a:r>
              <a:rPr lang="en-US" sz="800" dirty="0"/>
              <a:t>25% (n=11) relocated from native region</a:t>
            </a:r>
          </a:p>
          <a:p>
            <a:r>
              <a:rPr lang="en-US" sz="800" dirty="0"/>
              <a:t>19% (n=8) relocated to US specifically</a:t>
            </a:r>
          </a:p>
          <a:p>
            <a:r>
              <a:rPr lang="en-US" sz="800" dirty="0"/>
              <a:t>12% (n=5) relocated from Asia to US</a:t>
            </a:r>
          </a:p>
        </p:txBody>
      </p:sp>
      <p:sp>
        <p:nvSpPr>
          <p:cNvPr id="11" name="TextBox 10">
            <a:extLst>
              <a:ext uri="{FF2B5EF4-FFF2-40B4-BE49-F238E27FC236}">
                <a16:creationId xmlns:a16="http://schemas.microsoft.com/office/drawing/2014/main" xmlns="" id="{B0427EBB-5413-412B-BAB0-AFA433120E76}"/>
              </a:ext>
            </a:extLst>
          </p:cNvPr>
          <p:cNvSpPr txBox="1"/>
          <p:nvPr/>
        </p:nvSpPr>
        <p:spPr>
          <a:xfrm>
            <a:off x="3809731" y="515019"/>
            <a:ext cx="1467068"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Current Industry</a:t>
            </a:r>
          </a:p>
        </p:txBody>
      </p:sp>
      <p:pic>
        <p:nvPicPr>
          <p:cNvPr id="14" name="Picture 13">
            <a:extLst>
              <a:ext uri="{FF2B5EF4-FFF2-40B4-BE49-F238E27FC236}">
                <a16:creationId xmlns:a16="http://schemas.microsoft.com/office/drawing/2014/main" xmlns="" id="{21D44754-9239-42D7-9192-DF094AAEAA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525" y="3050167"/>
            <a:ext cx="1766756" cy="1506758"/>
          </a:xfrm>
          <a:prstGeom prst="rect">
            <a:avLst/>
          </a:prstGeom>
        </p:spPr>
      </p:pic>
      <p:pic>
        <p:nvPicPr>
          <p:cNvPr id="15" name="Picture 14">
            <a:extLst>
              <a:ext uri="{FF2B5EF4-FFF2-40B4-BE49-F238E27FC236}">
                <a16:creationId xmlns:a16="http://schemas.microsoft.com/office/drawing/2014/main" xmlns="" id="{9838ECD8-6A6A-4DC6-8C43-4B4C18E499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0807" y="3050167"/>
            <a:ext cx="2254805" cy="1683730"/>
          </a:xfrm>
          <a:prstGeom prst="rect">
            <a:avLst/>
          </a:prstGeom>
        </p:spPr>
      </p:pic>
      <p:pic>
        <p:nvPicPr>
          <p:cNvPr id="19" name="Picture 18">
            <a:extLst>
              <a:ext uri="{FF2B5EF4-FFF2-40B4-BE49-F238E27FC236}">
                <a16:creationId xmlns:a16="http://schemas.microsoft.com/office/drawing/2014/main" xmlns="" id="{5178E5DC-7827-49B5-9CBA-37F01F4F94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5372" y="850326"/>
            <a:ext cx="1083314" cy="1921593"/>
          </a:xfrm>
          <a:prstGeom prst="rect">
            <a:avLst/>
          </a:prstGeom>
        </p:spPr>
      </p:pic>
      <p:sp>
        <p:nvSpPr>
          <p:cNvPr id="21" name="TextBox 20">
            <a:extLst>
              <a:ext uri="{FF2B5EF4-FFF2-40B4-BE49-F238E27FC236}">
                <a16:creationId xmlns:a16="http://schemas.microsoft.com/office/drawing/2014/main" xmlns="" id="{431732E9-A273-4C11-9B6C-978E624087E9}"/>
              </a:ext>
            </a:extLst>
          </p:cNvPr>
          <p:cNvSpPr txBox="1"/>
          <p:nvPr/>
        </p:nvSpPr>
        <p:spPr>
          <a:xfrm>
            <a:off x="7487491" y="503832"/>
            <a:ext cx="780983"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Gender</a:t>
            </a:r>
          </a:p>
        </p:txBody>
      </p:sp>
      <p:sp>
        <p:nvSpPr>
          <p:cNvPr id="4" name="Rectangle: Rounded Corners 3">
            <a:extLst>
              <a:ext uri="{FF2B5EF4-FFF2-40B4-BE49-F238E27FC236}">
                <a16:creationId xmlns:a16="http://schemas.microsoft.com/office/drawing/2014/main" xmlns="" id="{4B5F437B-D56F-496B-935A-1A1A99155D46}"/>
              </a:ext>
            </a:extLst>
          </p:cNvPr>
          <p:cNvSpPr/>
          <p:nvPr/>
        </p:nvSpPr>
        <p:spPr>
          <a:xfrm>
            <a:off x="305162" y="3253563"/>
            <a:ext cx="1782119" cy="366823"/>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2" name="Rectangle: Rounded Corners 21">
            <a:extLst>
              <a:ext uri="{FF2B5EF4-FFF2-40B4-BE49-F238E27FC236}">
                <a16:creationId xmlns:a16="http://schemas.microsoft.com/office/drawing/2014/main" xmlns="" id="{3D8DA72C-2F4D-4C35-B563-27E614161725}"/>
              </a:ext>
            </a:extLst>
          </p:cNvPr>
          <p:cNvSpPr/>
          <p:nvPr/>
        </p:nvSpPr>
        <p:spPr>
          <a:xfrm>
            <a:off x="3301909" y="3257107"/>
            <a:ext cx="2284335" cy="533400"/>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5" name="Picture 4">
            <a:extLst>
              <a:ext uri="{FF2B5EF4-FFF2-40B4-BE49-F238E27FC236}">
                <a16:creationId xmlns:a16="http://schemas.microsoft.com/office/drawing/2014/main" xmlns="" id="{EB014A42-705D-4B62-969A-052E06B6CF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45895" y="3050167"/>
            <a:ext cx="1900260" cy="803376"/>
          </a:xfrm>
          <a:prstGeom prst="rect">
            <a:avLst/>
          </a:prstGeom>
        </p:spPr>
      </p:pic>
      <p:sp>
        <p:nvSpPr>
          <p:cNvPr id="25" name="Rectangle: Rounded Corners 24">
            <a:extLst>
              <a:ext uri="{FF2B5EF4-FFF2-40B4-BE49-F238E27FC236}">
                <a16:creationId xmlns:a16="http://schemas.microsoft.com/office/drawing/2014/main" xmlns="" id="{E1824567-5B49-4BA5-9ACB-285CC79B9E11}"/>
              </a:ext>
            </a:extLst>
          </p:cNvPr>
          <p:cNvSpPr/>
          <p:nvPr/>
        </p:nvSpPr>
        <p:spPr>
          <a:xfrm>
            <a:off x="6945895" y="3257107"/>
            <a:ext cx="1900260" cy="187180"/>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458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8A0135-95ED-48D0-AC84-89E0535CBBE7}"/>
              </a:ext>
            </a:extLst>
          </p:cNvPr>
          <p:cNvSpPr>
            <a:spLocks noGrp="1"/>
          </p:cNvSpPr>
          <p:nvPr>
            <p:ph type="title"/>
          </p:nvPr>
        </p:nvSpPr>
        <p:spPr>
          <a:xfrm>
            <a:off x="626364" y="158968"/>
            <a:ext cx="7891272" cy="457200"/>
          </a:xfrm>
        </p:spPr>
        <p:txBody>
          <a:bodyPr/>
          <a:lstStyle/>
          <a:p>
            <a:r>
              <a:rPr lang="en-US" b="1" dirty="0"/>
              <a:t>INTRODUCTION</a:t>
            </a:r>
          </a:p>
        </p:txBody>
      </p:sp>
      <p:sp>
        <p:nvSpPr>
          <p:cNvPr id="4" name="Content Placeholder 3">
            <a:extLst>
              <a:ext uri="{FF2B5EF4-FFF2-40B4-BE49-F238E27FC236}">
                <a16:creationId xmlns:a16="http://schemas.microsoft.com/office/drawing/2014/main" xmlns="" id="{2FDCEEF7-05FE-411E-BA60-343782280275}"/>
              </a:ext>
            </a:extLst>
          </p:cNvPr>
          <p:cNvSpPr>
            <a:spLocks noGrp="1"/>
          </p:cNvSpPr>
          <p:nvPr>
            <p:ph sz="quarter" idx="11"/>
          </p:nvPr>
        </p:nvSpPr>
        <p:spPr>
          <a:xfrm>
            <a:off x="143887" y="747275"/>
            <a:ext cx="7948080" cy="4237257"/>
          </a:xfrm>
        </p:spPr>
        <p:txBody>
          <a:bodyPr>
            <a:normAutofit/>
          </a:bodyPr>
          <a:lstStyle/>
          <a:p>
            <a:r>
              <a:rPr lang="en-US" sz="2200" dirty="0"/>
              <a:t>Cybersecurity Data Science practitioner – </a:t>
            </a:r>
            <a:r>
              <a:rPr lang="en-US" sz="2200" i="1" dirty="0"/>
              <a:t>SAS Institute</a:t>
            </a:r>
          </a:p>
          <a:p>
            <a:r>
              <a:rPr lang="en-US" sz="2200" dirty="0"/>
              <a:t>Lecturer / PhD candidate – </a:t>
            </a:r>
            <a:r>
              <a:rPr lang="en-US" sz="2200" i="1" dirty="0"/>
              <a:t>Nyenrode Business University</a:t>
            </a:r>
          </a:p>
          <a:p>
            <a:endParaRPr lang="en-US" sz="100" dirty="0"/>
          </a:p>
          <a:p>
            <a:pPr marL="182880" lvl="1" indent="0">
              <a:buNone/>
            </a:pPr>
            <a:endParaRPr lang="en-US" sz="100" dirty="0"/>
          </a:p>
          <a:p>
            <a:r>
              <a:rPr lang="en-US" sz="2800" dirty="0"/>
              <a:t>Qualitative research</a:t>
            </a:r>
          </a:p>
          <a:p>
            <a:pPr lvl="1"/>
            <a:r>
              <a:rPr lang="en-US" sz="2400" dirty="0"/>
              <a:t>43 global cybersecurity data scientists</a:t>
            </a:r>
          </a:p>
          <a:p>
            <a:pPr lvl="1"/>
            <a:r>
              <a:rPr lang="en-US" sz="2400" dirty="0"/>
              <a:t>Key challenges and best practices</a:t>
            </a:r>
          </a:p>
          <a:p>
            <a:pPr lvl="1"/>
            <a:r>
              <a:rPr lang="en-US" sz="2400" dirty="0"/>
              <a:t>Organizational &amp; methodological guidance</a:t>
            </a:r>
          </a:p>
          <a:p>
            <a:pPr lvl="1"/>
            <a:r>
              <a:rPr lang="en-US" sz="2400" dirty="0"/>
              <a:t>Book early 2020  #CSDS2020</a:t>
            </a:r>
          </a:p>
          <a:p>
            <a:pPr marL="182880" lvl="1" indent="0">
              <a:buNone/>
            </a:pPr>
            <a:r>
              <a:rPr lang="en-US" dirty="0"/>
              <a:t>   </a:t>
            </a:r>
            <a:r>
              <a:rPr lang="en-US" sz="2000" dirty="0"/>
              <a:t>‘Cybersecurity Data Science: Prescribed Best Practices’</a:t>
            </a:r>
          </a:p>
          <a:p>
            <a:pPr marL="0" indent="0">
              <a:buNone/>
            </a:pPr>
            <a:endParaRPr lang="en-US" sz="2400" dirty="0"/>
          </a:p>
          <a:p>
            <a:pPr marL="0" indent="0">
              <a:buNone/>
            </a:pPr>
            <a:endParaRPr lang="en-US" sz="2400" dirty="0"/>
          </a:p>
          <a:p>
            <a:endParaRPr lang="en-US" sz="2400" dirty="0"/>
          </a:p>
        </p:txBody>
      </p:sp>
      <p:pic>
        <p:nvPicPr>
          <p:cNvPr id="5" name="Picture 4">
            <a:extLst>
              <a:ext uri="{FF2B5EF4-FFF2-40B4-BE49-F238E27FC236}">
                <a16:creationId xmlns:a16="http://schemas.microsoft.com/office/drawing/2014/main" xmlns="" id="{38147857-3193-490A-9469-7133054B41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8922" y="1732253"/>
            <a:ext cx="2355508" cy="3100964"/>
          </a:xfrm>
          <a:prstGeom prst="rect">
            <a:avLst/>
          </a:prstGeom>
          <a:ln>
            <a:solidFill>
              <a:schemeClr val="accent3"/>
            </a:solidFill>
          </a:ln>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xmlns="" id="{82ABDAFD-05CC-4EE9-A31C-DA138EF00A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7954" y="646065"/>
            <a:ext cx="1110483" cy="480208"/>
          </a:xfrm>
          <a:prstGeom prst="rect">
            <a:avLst/>
          </a:prstGeom>
        </p:spPr>
      </p:pic>
      <p:pic>
        <p:nvPicPr>
          <p:cNvPr id="9" name="Picture 8">
            <a:extLst>
              <a:ext uri="{FF2B5EF4-FFF2-40B4-BE49-F238E27FC236}">
                <a16:creationId xmlns:a16="http://schemas.microsoft.com/office/drawing/2014/main" xmlns="" id="{DF8A8607-869E-4BFF-82EA-81F725FF87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51911" y="1156170"/>
            <a:ext cx="1665725" cy="379008"/>
          </a:xfrm>
          <a:prstGeom prst="rect">
            <a:avLst/>
          </a:prstGeom>
        </p:spPr>
      </p:pic>
    </p:spTree>
    <p:extLst>
      <p:ext uri="{BB962C8B-B14F-4D97-AF65-F5344CB8AC3E}">
        <p14:creationId xmlns:p14="http://schemas.microsoft.com/office/powerpoint/2010/main" val="3488866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animEffect transition="in" filter="fade">
                                      <p:cBhvr>
                                        <p:cTn id="7" dur="500"/>
                                        <p:tgtEl>
                                          <p:spTgt spid="4">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5" end="5"/>
                                            </p:txEl>
                                          </p:spTgt>
                                        </p:tgtEl>
                                        <p:attrNameLst>
                                          <p:attrName>style.visibility</p:attrName>
                                        </p:attrNameLst>
                                      </p:cBhvr>
                                      <p:to>
                                        <p:strVal val="visible"/>
                                      </p:to>
                                    </p:set>
                                    <p:animEffect transition="in" filter="fade">
                                      <p:cBhvr>
                                        <p:cTn id="10" dur="500"/>
                                        <p:tgtEl>
                                          <p:spTgt spid="4">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animEffect transition="in" filter="fade">
                                      <p:cBhvr>
                                        <p:cTn id="13" dur="500"/>
                                        <p:tgtEl>
                                          <p:spTgt spid="4">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7" end="7"/>
                                            </p:txEl>
                                          </p:spTgt>
                                        </p:tgtEl>
                                        <p:attrNameLst>
                                          <p:attrName>style.visibility</p:attrName>
                                        </p:attrNameLst>
                                      </p:cBhvr>
                                      <p:to>
                                        <p:strVal val="visible"/>
                                      </p:to>
                                    </p:set>
                                    <p:animEffect transition="in" filter="fade">
                                      <p:cBhvr>
                                        <p:cTn id="16" dur="500"/>
                                        <p:tgtEl>
                                          <p:spTgt spid="4">
                                            <p:txEl>
                                              <p:pRg st="7" end="7"/>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animEffect transition="in" filter="fade">
                                      <p:cBhvr>
                                        <p:cTn id="19" dur="500"/>
                                        <p:tgtEl>
                                          <p:spTgt spid="4">
                                            <p:txEl>
                                              <p:pRg st="8" end="8"/>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
                                            <p:txEl>
                                              <p:pRg st="9" end="9"/>
                                            </p:txEl>
                                          </p:spTgt>
                                        </p:tgtEl>
                                        <p:attrNameLst>
                                          <p:attrName>style.visibility</p:attrName>
                                        </p:attrNameLst>
                                      </p:cBhvr>
                                      <p:to>
                                        <p:strVal val="visible"/>
                                      </p:to>
                                    </p:set>
                                    <p:animEffect transition="in" filter="fade">
                                      <p:cBhvr>
                                        <p:cTn id="2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A59AE3-4A1A-463C-8AA2-2F4B4F96492B}"/>
              </a:ext>
            </a:extLst>
          </p:cNvPr>
          <p:cNvSpPr>
            <a:spLocks noGrp="1"/>
          </p:cNvSpPr>
          <p:nvPr>
            <p:ph type="title"/>
          </p:nvPr>
        </p:nvSpPr>
        <p:spPr>
          <a:xfrm>
            <a:off x="626364" y="91125"/>
            <a:ext cx="7891272" cy="457200"/>
          </a:xfrm>
        </p:spPr>
        <p:txBody>
          <a:bodyPr/>
          <a:lstStyle/>
          <a:p>
            <a:r>
              <a:rPr lang="en-US" b="1" dirty="0"/>
              <a:t>Demographic Profile (n=43)</a:t>
            </a:r>
          </a:p>
        </p:txBody>
      </p:sp>
      <p:sp>
        <p:nvSpPr>
          <p:cNvPr id="9" name="TextBox 8">
            <a:extLst>
              <a:ext uri="{FF2B5EF4-FFF2-40B4-BE49-F238E27FC236}">
                <a16:creationId xmlns:a16="http://schemas.microsoft.com/office/drawing/2014/main" xmlns="" id="{A030FF50-CF65-4962-90A7-EEB4022A08B2}"/>
              </a:ext>
            </a:extLst>
          </p:cNvPr>
          <p:cNvSpPr txBox="1"/>
          <p:nvPr/>
        </p:nvSpPr>
        <p:spPr>
          <a:xfrm>
            <a:off x="1669626" y="755704"/>
            <a:ext cx="574196"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Age</a:t>
            </a:r>
            <a:r>
              <a:rPr lang="en-US" sz="1400" dirty="0">
                <a:latin typeface="Arial" panose="020B0604020202020204" pitchFamily="34" charset="0"/>
                <a:cs typeface="Arial" panose="020B0604020202020204" pitchFamily="34" charset="0"/>
              </a:rPr>
              <a:t>*</a:t>
            </a:r>
          </a:p>
        </p:txBody>
      </p:sp>
      <p:sp>
        <p:nvSpPr>
          <p:cNvPr id="11" name="TextBox 10">
            <a:extLst>
              <a:ext uri="{FF2B5EF4-FFF2-40B4-BE49-F238E27FC236}">
                <a16:creationId xmlns:a16="http://schemas.microsoft.com/office/drawing/2014/main" xmlns="" id="{B0427EBB-5413-412B-BAB0-AFA433120E76}"/>
              </a:ext>
            </a:extLst>
          </p:cNvPr>
          <p:cNvSpPr txBox="1"/>
          <p:nvPr/>
        </p:nvSpPr>
        <p:spPr>
          <a:xfrm>
            <a:off x="3732310" y="755704"/>
            <a:ext cx="1516697"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 </a:t>
            </a:r>
            <a:r>
              <a:rPr lang="en-US" sz="1400" u="sng" dirty="0" err="1">
                <a:latin typeface="Arial" panose="020B0604020202020204" pitchFamily="34" charset="0"/>
                <a:cs typeface="Arial" panose="020B0604020202020204" pitchFamily="34" charset="0"/>
              </a:rPr>
              <a:t>Yrs</a:t>
            </a:r>
            <a:r>
              <a:rPr lang="en-US" sz="1400" u="sng" dirty="0">
                <a:latin typeface="Arial" panose="020B0604020202020204" pitchFamily="34" charset="0"/>
                <a:cs typeface="Arial" panose="020B0604020202020204" pitchFamily="34" charset="0"/>
              </a:rPr>
              <a:t> Employed</a:t>
            </a:r>
            <a:r>
              <a:rPr lang="en-US" sz="1400" dirty="0">
                <a:latin typeface="Arial" panose="020B0604020202020204" pitchFamily="34" charset="0"/>
                <a:cs typeface="Arial" panose="020B0604020202020204" pitchFamily="34" charset="0"/>
              </a:rPr>
              <a:t>*</a:t>
            </a:r>
          </a:p>
        </p:txBody>
      </p:sp>
      <p:pic>
        <p:nvPicPr>
          <p:cNvPr id="6" name="Picture 5">
            <a:extLst>
              <a:ext uri="{FF2B5EF4-FFF2-40B4-BE49-F238E27FC236}">
                <a16:creationId xmlns:a16="http://schemas.microsoft.com/office/drawing/2014/main" xmlns="" id="{78D89D53-3590-46B0-A6F0-989BB7C6FE2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113339" y="1118631"/>
            <a:ext cx="1616239" cy="2264949"/>
          </a:xfrm>
          <a:prstGeom prst="rect">
            <a:avLst/>
          </a:prstGeom>
        </p:spPr>
      </p:pic>
      <p:pic>
        <p:nvPicPr>
          <p:cNvPr id="12" name="Picture 11">
            <a:extLst>
              <a:ext uri="{FF2B5EF4-FFF2-40B4-BE49-F238E27FC236}">
                <a16:creationId xmlns:a16="http://schemas.microsoft.com/office/drawing/2014/main" xmlns="" id="{0EA12316-5583-4757-BA24-873C7D94477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009"/>
          <a:stretch/>
        </p:blipFill>
        <p:spPr>
          <a:xfrm>
            <a:off x="3669253" y="1118632"/>
            <a:ext cx="1616239" cy="2294661"/>
          </a:xfrm>
          <a:prstGeom prst="rect">
            <a:avLst/>
          </a:prstGeom>
        </p:spPr>
      </p:pic>
      <p:pic>
        <p:nvPicPr>
          <p:cNvPr id="19" name="Picture 18">
            <a:extLst>
              <a:ext uri="{FF2B5EF4-FFF2-40B4-BE49-F238E27FC236}">
                <a16:creationId xmlns:a16="http://schemas.microsoft.com/office/drawing/2014/main" xmlns="" id="{18C45176-DC36-4739-892B-5A03AA088E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1311" y="3581656"/>
            <a:ext cx="1043271" cy="499423"/>
          </a:xfrm>
          <a:prstGeom prst="rect">
            <a:avLst/>
          </a:prstGeom>
        </p:spPr>
      </p:pic>
      <p:pic>
        <p:nvPicPr>
          <p:cNvPr id="20" name="Picture 19">
            <a:extLst>
              <a:ext uri="{FF2B5EF4-FFF2-40B4-BE49-F238E27FC236}">
                <a16:creationId xmlns:a16="http://schemas.microsoft.com/office/drawing/2014/main" xmlns="" id="{C3134142-99DD-48EC-9769-4B606D441D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8982" y="3581657"/>
            <a:ext cx="1043271" cy="499423"/>
          </a:xfrm>
          <a:prstGeom prst="rect">
            <a:avLst/>
          </a:prstGeom>
        </p:spPr>
      </p:pic>
      <p:sp>
        <p:nvSpPr>
          <p:cNvPr id="21" name="TextBox 20">
            <a:extLst>
              <a:ext uri="{FF2B5EF4-FFF2-40B4-BE49-F238E27FC236}">
                <a16:creationId xmlns:a16="http://schemas.microsoft.com/office/drawing/2014/main" xmlns="" id="{938D7032-B3EF-4178-B03B-2BA800343033}"/>
              </a:ext>
            </a:extLst>
          </p:cNvPr>
          <p:cNvSpPr txBox="1"/>
          <p:nvPr/>
        </p:nvSpPr>
        <p:spPr>
          <a:xfrm>
            <a:off x="2191230" y="4475907"/>
            <a:ext cx="4474879" cy="369332"/>
          </a:xfrm>
          <a:prstGeom prst="rect">
            <a:avLst/>
          </a:prstGeom>
          <a:noFill/>
        </p:spPr>
        <p:txBody>
          <a:bodyPr wrap="none" rtlCol="0">
            <a:spAutoFit/>
          </a:bodyPr>
          <a:lstStyle/>
          <a:p>
            <a:r>
              <a:rPr lang="en-US" i="1" dirty="0"/>
              <a:t>* Estimates inferred from LinkedIn profile data</a:t>
            </a:r>
          </a:p>
        </p:txBody>
      </p:sp>
      <p:sp>
        <p:nvSpPr>
          <p:cNvPr id="31" name="Rectangle: Rounded Corners 30">
            <a:extLst>
              <a:ext uri="{FF2B5EF4-FFF2-40B4-BE49-F238E27FC236}">
                <a16:creationId xmlns:a16="http://schemas.microsoft.com/office/drawing/2014/main" xmlns="" id="{3EE671B2-E423-427D-8749-5F6462AB2309}"/>
              </a:ext>
            </a:extLst>
          </p:cNvPr>
          <p:cNvSpPr/>
          <p:nvPr/>
        </p:nvSpPr>
        <p:spPr>
          <a:xfrm>
            <a:off x="1331311" y="3596517"/>
            <a:ext cx="1043271" cy="235197"/>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2" name="Rectangle: Rounded Corners 31">
            <a:extLst>
              <a:ext uri="{FF2B5EF4-FFF2-40B4-BE49-F238E27FC236}">
                <a16:creationId xmlns:a16="http://schemas.microsoft.com/office/drawing/2014/main" xmlns="" id="{D7AEE7FB-8927-4583-807B-81B89862D5F0}"/>
              </a:ext>
            </a:extLst>
          </p:cNvPr>
          <p:cNvSpPr/>
          <p:nvPr/>
        </p:nvSpPr>
        <p:spPr>
          <a:xfrm>
            <a:off x="3893528" y="3581656"/>
            <a:ext cx="1048726" cy="259337"/>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36" name="Picture 35">
            <a:extLst>
              <a:ext uri="{FF2B5EF4-FFF2-40B4-BE49-F238E27FC236}">
                <a16:creationId xmlns:a16="http://schemas.microsoft.com/office/drawing/2014/main" xmlns="" id="{755AD23E-EEE1-4436-BA96-5FD2501235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23130" y="1118675"/>
            <a:ext cx="1776266" cy="2294661"/>
          </a:xfrm>
          <a:prstGeom prst="rect">
            <a:avLst/>
          </a:prstGeom>
        </p:spPr>
      </p:pic>
      <p:sp>
        <p:nvSpPr>
          <p:cNvPr id="37" name="TextBox 36">
            <a:extLst>
              <a:ext uri="{FF2B5EF4-FFF2-40B4-BE49-F238E27FC236}">
                <a16:creationId xmlns:a16="http://schemas.microsoft.com/office/drawing/2014/main" xmlns="" id="{02B3067E-CDF9-4A63-B59A-95FE63A99984}"/>
              </a:ext>
            </a:extLst>
          </p:cNvPr>
          <p:cNvSpPr txBox="1"/>
          <p:nvPr/>
        </p:nvSpPr>
        <p:spPr>
          <a:xfrm>
            <a:off x="6659717" y="753648"/>
            <a:ext cx="1220142" cy="307777"/>
          </a:xfrm>
          <a:prstGeom prst="rect">
            <a:avLst/>
          </a:prstGeom>
          <a:noFill/>
        </p:spPr>
        <p:txBody>
          <a:bodyPr wrap="none" rtlCol="0">
            <a:spAutoFit/>
          </a:bodyPr>
          <a:lstStyle/>
          <a:p>
            <a:r>
              <a:rPr lang="en-US" sz="1400" u="sng" dirty="0">
                <a:latin typeface="Arial" panose="020B0604020202020204" pitchFamily="34" charset="0"/>
                <a:cs typeface="Arial" panose="020B0604020202020204" pitchFamily="34" charset="0"/>
              </a:rPr>
              <a:t># </a:t>
            </a:r>
            <a:r>
              <a:rPr lang="en-US" sz="1400" u="sng" dirty="0" err="1">
                <a:latin typeface="Arial" panose="020B0604020202020204" pitchFamily="34" charset="0"/>
                <a:cs typeface="Arial" panose="020B0604020202020204" pitchFamily="34" charset="0"/>
              </a:rPr>
              <a:t>Yrs</a:t>
            </a:r>
            <a:r>
              <a:rPr lang="en-US" sz="1400" u="sng" dirty="0">
                <a:latin typeface="Arial" panose="020B0604020202020204" pitchFamily="34" charset="0"/>
                <a:cs typeface="Arial" panose="020B0604020202020204" pitchFamily="34" charset="0"/>
              </a:rPr>
              <a:t> CSDS</a:t>
            </a:r>
            <a:r>
              <a:rPr lang="en-US" sz="1400" dirty="0">
                <a:latin typeface="Arial" panose="020B0604020202020204" pitchFamily="34" charset="0"/>
                <a:cs typeface="Arial" panose="020B0604020202020204" pitchFamily="34" charset="0"/>
              </a:rPr>
              <a:t>*</a:t>
            </a:r>
          </a:p>
        </p:txBody>
      </p:sp>
      <p:pic>
        <p:nvPicPr>
          <p:cNvPr id="38" name="Picture 37">
            <a:extLst>
              <a:ext uri="{FF2B5EF4-FFF2-40B4-BE49-F238E27FC236}">
                <a16:creationId xmlns:a16="http://schemas.microsoft.com/office/drawing/2014/main" xmlns="" id="{B0A953DD-D8E5-437D-81E5-C2F99967FA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2214" y="3583071"/>
            <a:ext cx="1017790" cy="498052"/>
          </a:xfrm>
          <a:prstGeom prst="rect">
            <a:avLst/>
          </a:prstGeom>
        </p:spPr>
      </p:pic>
      <p:sp>
        <p:nvSpPr>
          <p:cNvPr id="39" name="Rectangle: Rounded Corners 38">
            <a:extLst>
              <a:ext uri="{FF2B5EF4-FFF2-40B4-BE49-F238E27FC236}">
                <a16:creationId xmlns:a16="http://schemas.microsoft.com/office/drawing/2014/main" xmlns="" id="{71FCF471-C3DF-43BB-8E6D-AD82CA3E60A3}"/>
              </a:ext>
            </a:extLst>
          </p:cNvPr>
          <p:cNvSpPr/>
          <p:nvPr/>
        </p:nvSpPr>
        <p:spPr>
          <a:xfrm>
            <a:off x="6745233" y="3574915"/>
            <a:ext cx="1024771" cy="259337"/>
          </a:xfrm>
          <a:prstGeom prst="roundRect">
            <a:avLst/>
          </a:prstGeom>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41741517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823732"/>
            <a:ext cx="9144000" cy="1200329"/>
          </a:xfrm>
        </p:spPr>
        <p:txBody>
          <a:bodyPr/>
          <a:lstStyle/>
          <a:p>
            <a:r>
              <a:rPr lang="en-US" sz="4400" b="1" dirty="0"/>
              <a:t>Interview Questions and Analysis</a:t>
            </a:r>
            <a:br>
              <a:rPr lang="en-US" sz="4400" b="1" dirty="0"/>
            </a:br>
            <a:r>
              <a:rPr lang="en-US" sz="2800" dirty="0"/>
              <a:t>43 Cybersecurity Data Scientists (Dis-)Agree…</a:t>
            </a:r>
            <a:endParaRPr lang="en-US" sz="2400" dirty="0"/>
          </a:p>
        </p:txBody>
      </p:sp>
    </p:spTree>
    <p:extLst>
      <p:ext uri="{BB962C8B-B14F-4D97-AF65-F5344CB8AC3E}">
        <p14:creationId xmlns:p14="http://schemas.microsoft.com/office/powerpoint/2010/main" val="329906422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D73B9-E617-45C5-BD19-1DD4AFE8CC0E}"/>
              </a:ext>
            </a:extLst>
          </p:cNvPr>
          <p:cNvSpPr>
            <a:spLocks noGrp="1"/>
          </p:cNvSpPr>
          <p:nvPr>
            <p:ph type="title"/>
          </p:nvPr>
        </p:nvSpPr>
        <p:spPr/>
        <p:txBody>
          <a:bodyPr/>
          <a:lstStyle/>
          <a:p>
            <a:r>
              <a:rPr lang="en-US" b="1" dirty="0"/>
              <a:t>CSDS Practitioner Interview Research</a:t>
            </a:r>
          </a:p>
        </p:txBody>
      </p:sp>
      <p:sp>
        <p:nvSpPr>
          <p:cNvPr id="3" name="Text Placeholder 2">
            <a:extLst>
              <a:ext uri="{FF2B5EF4-FFF2-40B4-BE49-F238E27FC236}">
                <a16:creationId xmlns:a16="http://schemas.microsoft.com/office/drawing/2014/main" xmlns="" id="{AB58FFB3-D8F1-4895-85FB-A89285AF6E27}"/>
              </a:ext>
            </a:extLst>
          </p:cNvPr>
          <p:cNvSpPr>
            <a:spLocks noGrp="1"/>
          </p:cNvSpPr>
          <p:nvPr>
            <p:ph type="body" sz="quarter" idx="12"/>
          </p:nvPr>
        </p:nvSpPr>
        <p:spPr/>
        <p:txBody>
          <a:bodyPr/>
          <a:lstStyle/>
          <a:p>
            <a:r>
              <a:rPr lang="en-US" dirty="0"/>
              <a:t>Qualitative: Open Response 30 Minute Interviews</a:t>
            </a:r>
          </a:p>
        </p:txBody>
      </p:sp>
      <p:sp>
        <p:nvSpPr>
          <p:cNvPr id="5" name="Content Placeholder 3">
            <a:extLst>
              <a:ext uri="{FF2B5EF4-FFF2-40B4-BE49-F238E27FC236}">
                <a16:creationId xmlns:a16="http://schemas.microsoft.com/office/drawing/2014/main" xmlns="" id="{1F668FA2-0FA8-4F7F-A25D-CEE6DF1932DC}"/>
              </a:ext>
            </a:extLst>
          </p:cNvPr>
          <p:cNvSpPr txBox="1">
            <a:spLocks/>
          </p:cNvSpPr>
          <p:nvPr/>
        </p:nvSpPr>
        <p:spPr>
          <a:xfrm>
            <a:off x="647085" y="1183862"/>
            <a:ext cx="8312702" cy="3531013"/>
          </a:xfrm>
          <a:prstGeom prst="rect">
            <a:avLst/>
          </a:prstGeom>
        </p:spPr>
        <p:txBody>
          <a:bodyPr vert="horz" wrap="square" lIns="91440" tIns="45720" rIns="91440" bIns="45720" rtlCol="0" anchor="t" anchorCtr="0">
            <a:normAutofit/>
          </a:bodyPr>
          <a:lst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2800" b="1" u="sng" dirty="0"/>
              <a:t>ENTRY</a:t>
            </a:r>
            <a:r>
              <a:rPr lang="en-US" sz="2800" dirty="0"/>
              <a:t>:  How did you become involved in domain?</a:t>
            </a:r>
          </a:p>
          <a:p>
            <a:pPr marL="0" indent="0">
              <a:buNone/>
            </a:pPr>
            <a:endParaRPr lang="en-US" sz="400" dirty="0"/>
          </a:p>
          <a:p>
            <a:r>
              <a:rPr lang="en-US" sz="2800" dirty="0"/>
              <a:t>What </a:t>
            </a:r>
            <a:r>
              <a:rPr lang="en-US" sz="2800" b="1" u="sng" dirty="0"/>
              <a:t>TRENDS</a:t>
            </a:r>
            <a:r>
              <a:rPr lang="en-US" sz="2800" dirty="0"/>
              <a:t> are emerging? </a:t>
            </a:r>
          </a:p>
          <a:p>
            <a:r>
              <a:rPr lang="en-US" sz="2800" dirty="0"/>
              <a:t>What are perceived central </a:t>
            </a:r>
            <a:r>
              <a:rPr lang="en-US" sz="2800" b="1" u="sng" dirty="0"/>
              <a:t>CHALLENGES</a:t>
            </a:r>
            <a:r>
              <a:rPr lang="en-US" sz="2800" dirty="0"/>
              <a:t>? </a:t>
            </a:r>
          </a:p>
          <a:p>
            <a:r>
              <a:rPr lang="en-US" sz="2800" dirty="0"/>
              <a:t>What are key </a:t>
            </a:r>
            <a:r>
              <a:rPr lang="en-US" sz="2800" b="1" u="sng" dirty="0"/>
              <a:t>BEST PRACTICES</a:t>
            </a:r>
            <a:r>
              <a:rPr lang="en-US" sz="2800" dirty="0"/>
              <a:t>?</a:t>
            </a:r>
          </a:p>
          <a:p>
            <a:pPr marL="0" indent="0">
              <a:buNone/>
            </a:pPr>
            <a:endParaRPr lang="en-US" sz="700" dirty="0"/>
          </a:p>
          <a:p>
            <a:r>
              <a:rPr lang="en-US" sz="2800" b="1" u="sng" dirty="0"/>
              <a:t>METHODS</a:t>
            </a:r>
            <a:r>
              <a:rPr lang="en-US" sz="2800" dirty="0"/>
              <a:t>: Borrowing from adjacent domains?</a:t>
            </a:r>
          </a:p>
          <a:p>
            <a:r>
              <a:rPr lang="en-US" sz="2800" b="1" u="sng" dirty="0"/>
              <a:t>THREATS</a:t>
            </a:r>
            <a:r>
              <a:rPr lang="en-US" sz="2800" dirty="0"/>
              <a:t>:   Trends on the adversarial side?</a:t>
            </a:r>
          </a:p>
        </p:txBody>
      </p:sp>
      <p:sp>
        <p:nvSpPr>
          <p:cNvPr id="7" name="Arrow: Curved Right 6">
            <a:extLst>
              <a:ext uri="{FF2B5EF4-FFF2-40B4-BE49-F238E27FC236}">
                <a16:creationId xmlns:a16="http://schemas.microsoft.com/office/drawing/2014/main" xmlns="" id="{9A665A13-81D0-454E-BF40-57421F15D342}"/>
              </a:ext>
            </a:extLst>
          </p:cNvPr>
          <p:cNvSpPr/>
          <p:nvPr/>
        </p:nvSpPr>
        <p:spPr>
          <a:xfrm>
            <a:off x="264561" y="1999488"/>
            <a:ext cx="382524" cy="627888"/>
          </a:xfrm>
          <a:prstGeom prst="curvedRightArrow">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8" name="Arrow: Curved Right 7">
            <a:extLst>
              <a:ext uri="{FF2B5EF4-FFF2-40B4-BE49-F238E27FC236}">
                <a16:creationId xmlns:a16="http://schemas.microsoft.com/office/drawing/2014/main" xmlns="" id="{DDDD139E-0A1E-4A5F-9AE8-8D5D45942F7B}"/>
              </a:ext>
            </a:extLst>
          </p:cNvPr>
          <p:cNvSpPr/>
          <p:nvPr/>
        </p:nvSpPr>
        <p:spPr>
          <a:xfrm>
            <a:off x="203601" y="1981200"/>
            <a:ext cx="443484" cy="1030224"/>
          </a:xfrm>
          <a:prstGeom prst="curvedRightArrow">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26383255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0B05E7-8C28-4B9F-B806-3660E6427B75}"/>
              </a:ext>
            </a:extLst>
          </p:cNvPr>
          <p:cNvSpPr>
            <a:spLocks noGrp="1"/>
          </p:cNvSpPr>
          <p:nvPr>
            <p:ph type="title"/>
          </p:nvPr>
        </p:nvSpPr>
        <p:spPr>
          <a:xfrm>
            <a:off x="573201" y="53940"/>
            <a:ext cx="7891272" cy="457200"/>
          </a:xfrm>
        </p:spPr>
        <p:txBody>
          <a:bodyPr/>
          <a:lstStyle/>
          <a:p>
            <a:r>
              <a:rPr lang="en-US" sz="2400" b="1" dirty="0"/>
              <a:t>Methodology: Interview Topic Labeling (CODING)</a:t>
            </a:r>
          </a:p>
        </p:txBody>
      </p:sp>
      <p:sp>
        <p:nvSpPr>
          <p:cNvPr id="3" name="Text Placeholder 2">
            <a:extLst>
              <a:ext uri="{FF2B5EF4-FFF2-40B4-BE49-F238E27FC236}">
                <a16:creationId xmlns:a16="http://schemas.microsoft.com/office/drawing/2014/main" xmlns="" id="{C070E32C-6AB2-4EAB-A856-C4D48E1B1E57}"/>
              </a:ext>
            </a:extLst>
          </p:cNvPr>
          <p:cNvSpPr>
            <a:spLocks noGrp="1"/>
          </p:cNvSpPr>
          <p:nvPr>
            <p:ph type="body" sz="quarter" idx="12"/>
          </p:nvPr>
        </p:nvSpPr>
        <p:spPr>
          <a:xfrm flipH="1">
            <a:off x="573201" y="501996"/>
            <a:ext cx="7891272" cy="274320"/>
          </a:xfrm>
        </p:spPr>
        <p:txBody>
          <a:bodyPr/>
          <a:lstStyle/>
          <a:p>
            <a:r>
              <a:rPr lang="en-US" dirty="0"/>
              <a:t>Inductive Extrapolation and Deductive Refinement</a:t>
            </a:r>
          </a:p>
        </p:txBody>
      </p:sp>
      <p:pic>
        <p:nvPicPr>
          <p:cNvPr id="5" name="Picture 4">
            <a:extLst>
              <a:ext uri="{FF2B5EF4-FFF2-40B4-BE49-F238E27FC236}">
                <a16:creationId xmlns:a16="http://schemas.microsoft.com/office/drawing/2014/main" xmlns="" id="{6CAF8A97-4A98-4A77-A9D3-2AFB4E5DA9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32226" y="833826"/>
            <a:ext cx="2336160" cy="1240891"/>
          </a:xfrm>
          <a:prstGeom prst="rect">
            <a:avLst/>
          </a:prstGeom>
          <a:ln w="12700">
            <a:solidFill>
              <a:schemeClr val="tx1"/>
            </a:solidFill>
          </a:ln>
        </p:spPr>
      </p:pic>
      <p:pic>
        <p:nvPicPr>
          <p:cNvPr id="6" name="Picture 5">
            <a:extLst>
              <a:ext uri="{FF2B5EF4-FFF2-40B4-BE49-F238E27FC236}">
                <a16:creationId xmlns:a16="http://schemas.microsoft.com/office/drawing/2014/main" xmlns="" id="{F10673DB-C323-4C87-AFA1-2A53B24107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368" y="946557"/>
            <a:ext cx="2218190" cy="1057892"/>
          </a:xfrm>
          <a:prstGeom prst="rect">
            <a:avLst/>
          </a:prstGeom>
          <a:ln w="12700">
            <a:solidFill>
              <a:schemeClr val="tx1"/>
            </a:solidFill>
          </a:ln>
        </p:spPr>
      </p:pic>
      <p:grpSp>
        <p:nvGrpSpPr>
          <p:cNvPr id="15" name="Group 14">
            <a:extLst>
              <a:ext uri="{FF2B5EF4-FFF2-40B4-BE49-F238E27FC236}">
                <a16:creationId xmlns:a16="http://schemas.microsoft.com/office/drawing/2014/main" xmlns="" id="{6A76F05C-E5D7-4910-8A26-94F01FA13AD8}"/>
              </a:ext>
            </a:extLst>
          </p:cNvPr>
          <p:cNvGrpSpPr/>
          <p:nvPr/>
        </p:nvGrpSpPr>
        <p:grpSpPr>
          <a:xfrm>
            <a:off x="2873716" y="978044"/>
            <a:ext cx="3211991" cy="1240891"/>
            <a:chOff x="2875149" y="843090"/>
            <a:chExt cx="3211991" cy="1240891"/>
          </a:xfrm>
        </p:grpSpPr>
        <p:sp>
          <p:nvSpPr>
            <p:cNvPr id="7" name="Content Placeholder 3">
              <a:extLst>
                <a:ext uri="{FF2B5EF4-FFF2-40B4-BE49-F238E27FC236}">
                  <a16:creationId xmlns:a16="http://schemas.microsoft.com/office/drawing/2014/main" xmlns="" id="{F4170FE4-1AF8-458C-883A-07CC2FD8B9CB}"/>
                </a:ext>
              </a:extLst>
            </p:cNvPr>
            <p:cNvSpPr txBox="1">
              <a:spLocks/>
            </p:cNvSpPr>
            <p:nvPr/>
          </p:nvSpPr>
          <p:spPr>
            <a:xfrm>
              <a:off x="2875149" y="843090"/>
              <a:ext cx="3211991" cy="1240891"/>
            </a:xfrm>
            <a:prstGeom prst="rect">
              <a:avLst/>
            </a:prstGeom>
          </p:spPr>
          <p:txBody>
            <a:bodyPr vert="horz" wrap="square" lIns="91440" tIns="45720" rIns="91440" bIns="45720" rtlCol="0" anchor="t" anchorCtr="0">
              <a:normAutofit/>
            </a:bodyPr>
            <a:lst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pPr>
                <a:lnSpc>
                  <a:spcPct val="100000"/>
                </a:lnSpc>
                <a:spcBef>
                  <a:spcPts val="0"/>
                </a:spcBef>
              </a:pPr>
              <a:r>
                <a:rPr lang="en-US" sz="1600" b="1" dirty="0"/>
                <a:t>Text analytics processing</a:t>
              </a:r>
            </a:p>
            <a:p>
              <a:pPr lvl="1">
                <a:lnSpc>
                  <a:spcPct val="100000"/>
                </a:lnSpc>
                <a:spcBef>
                  <a:spcPts val="0"/>
                </a:spcBef>
              </a:pPr>
              <a:r>
                <a:rPr lang="en-US" sz="1400" dirty="0"/>
                <a:t>Engine: SAS Contextual Analysis</a:t>
              </a:r>
            </a:p>
            <a:p>
              <a:pPr lvl="1">
                <a:lnSpc>
                  <a:spcPct val="100000"/>
                </a:lnSpc>
                <a:spcBef>
                  <a:spcPts val="0"/>
                </a:spcBef>
              </a:pPr>
              <a:r>
                <a:rPr lang="en-US" sz="1400" dirty="0"/>
                <a:t>Natural Language Processing (NLP)</a:t>
              </a:r>
            </a:p>
            <a:p>
              <a:pPr lvl="1">
                <a:lnSpc>
                  <a:spcPct val="100000"/>
                </a:lnSpc>
                <a:spcBef>
                  <a:spcPts val="0"/>
                </a:spcBef>
              </a:pPr>
              <a:r>
                <a:rPr lang="en-US" sz="1400" dirty="0"/>
                <a:t>Latent Semantic Indexing (LSI)</a:t>
              </a:r>
            </a:p>
            <a:p>
              <a:pPr lvl="1">
                <a:lnSpc>
                  <a:spcPct val="100000"/>
                </a:lnSpc>
                <a:spcBef>
                  <a:spcPts val="0"/>
                </a:spcBef>
              </a:pPr>
              <a:r>
                <a:rPr lang="en-US" sz="1400" dirty="0"/>
                <a:t>Singular Value Decomposition (SVD) </a:t>
              </a:r>
            </a:p>
          </p:txBody>
        </p:sp>
        <p:sp>
          <p:nvSpPr>
            <p:cNvPr id="10" name="Arrow: Down 9">
              <a:extLst>
                <a:ext uri="{FF2B5EF4-FFF2-40B4-BE49-F238E27FC236}">
                  <a16:creationId xmlns:a16="http://schemas.microsoft.com/office/drawing/2014/main" xmlns="" id="{DDF326AA-8D67-4AE9-BCB0-CF2C6E6DCA7A}"/>
                </a:ext>
              </a:extLst>
            </p:cNvPr>
            <p:cNvSpPr/>
            <p:nvPr/>
          </p:nvSpPr>
          <p:spPr>
            <a:xfrm>
              <a:off x="3051543" y="1368161"/>
              <a:ext cx="249865" cy="632166"/>
            </a:xfrm>
            <a:prstGeom prst="down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sp>
        <p:nvSpPr>
          <p:cNvPr id="11" name="TextBox 10">
            <a:extLst>
              <a:ext uri="{FF2B5EF4-FFF2-40B4-BE49-F238E27FC236}">
                <a16:creationId xmlns:a16="http://schemas.microsoft.com/office/drawing/2014/main" xmlns="" id="{B679FEDB-C7F0-4C7E-BDF3-7EFB60E40019}"/>
              </a:ext>
            </a:extLst>
          </p:cNvPr>
          <p:cNvSpPr txBox="1"/>
          <p:nvPr/>
        </p:nvSpPr>
        <p:spPr>
          <a:xfrm>
            <a:off x="775887" y="2004449"/>
            <a:ext cx="1725152" cy="507831"/>
          </a:xfrm>
          <a:prstGeom prst="rect">
            <a:avLst/>
          </a:prstGeom>
          <a:noFill/>
        </p:spPr>
        <p:txBody>
          <a:bodyPr wrap="none" rtlCol="0">
            <a:spAutoFit/>
          </a:bodyPr>
          <a:lstStyle/>
          <a:p>
            <a:pPr algn="ctr"/>
            <a:r>
              <a:rPr lang="en-US" sz="1600" b="1" dirty="0"/>
              <a:t>Topic extraction </a:t>
            </a:r>
          </a:p>
          <a:p>
            <a:pPr algn="ctr"/>
            <a:r>
              <a:rPr lang="en-US" sz="1100" b="1" dirty="0"/>
              <a:t>Agglomerative =&gt; multi-doc</a:t>
            </a:r>
          </a:p>
        </p:txBody>
      </p:sp>
      <p:sp>
        <p:nvSpPr>
          <p:cNvPr id="12" name="TextBox 11">
            <a:extLst>
              <a:ext uri="{FF2B5EF4-FFF2-40B4-BE49-F238E27FC236}">
                <a16:creationId xmlns:a16="http://schemas.microsoft.com/office/drawing/2014/main" xmlns="" id="{297354A1-DD07-4003-B138-65DEC733574E}"/>
              </a:ext>
            </a:extLst>
          </p:cNvPr>
          <p:cNvSpPr txBox="1"/>
          <p:nvPr/>
        </p:nvSpPr>
        <p:spPr>
          <a:xfrm>
            <a:off x="6638184" y="2055645"/>
            <a:ext cx="1730858" cy="523220"/>
          </a:xfrm>
          <a:prstGeom prst="rect">
            <a:avLst/>
          </a:prstGeom>
          <a:noFill/>
        </p:spPr>
        <p:txBody>
          <a:bodyPr wrap="none" rtlCol="0">
            <a:spAutoFit/>
          </a:bodyPr>
          <a:lstStyle/>
          <a:p>
            <a:pPr algn="ctr"/>
            <a:r>
              <a:rPr lang="en-US" sz="1600" b="1" dirty="0"/>
              <a:t>Concept clustering </a:t>
            </a:r>
          </a:p>
          <a:p>
            <a:pPr algn="ctr"/>
            <a:r>
              <a:rPr lang="en-US" sz="1100" b="1" dirty="0"/>
              <a:t>Divisive =&gt; unique doc</a:t>
            </a:r>
          </a:p>
        </p:txBody>
      </p:sp>
      <p:sp>
        <p:nvSpPr>
          <p:cNvPr id="16" name="Arrow: Bent 15">
            <a:extLst>
              <a:ext uri="{FF2B5EF4-FFF2-40B4-BE49-F238E27FC236}">
                <a16:creationId xmlns:a16="http://schemas.microsoft.com/office/drawing/2014/main" xmlns="" id="{8C071F44-7C05-408F-AF01-16EF11CFDF25}"/>
              </a:ext>
            </a:extLst>
          </p:cNvPr>
          <p:cNvSpPr/>
          <p:nvPr/>
        </p:nvSpPr>
        <p:spPr>
          <a:xfrm rot="10800000">
            <a:off x="6712882" y="2571750"/>
            <a:ext cx="969411" cy="493566"/>
          </a:xfrm>
          <a:prstGeom prst="ben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7" name="Arrow: Bent 16">
            <a:extLst>
              <a:ext uri="{FF2B5EF4-FFF2-40B4-BE49-F238E27FC236}">
                <a16:creationId xmlns:a16="http://schemas.microsoft.com/office/drawing/2014/main" xmlns="" id="{8E1382AB-ACE3-4556-97B1-879788A27CDC}"/>
              </a:ext>
            </a:extLst>
          </p:cNvPr>
          <p:cNvSpPr/>
          <p:nvPr/>
        </p:nvSpPr>
        <p:spPr>
          <a:xfrm rot="10800000" flipH="1">
            <a:off x="1456932" y="2539955"/>
            <a:ext cx="1040911" cy="493566"/>
          </a:xfrm>
          <a:prstGeom prst="bent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cxnSp>
        <p:nvCxnSpPr>
          <p:cNvPr id="19" name="Straight Connector 18">
            <a:extLst>
              <a:ext uri="{FF2B5EF4-FFF2-40B4-BE49-F238E27FC236}">
                <a16:creationId xmlns:a16="http://schemas.microsoft.com/office/drawing/2014/main" xmlns="" id="{1BE387B6-2F82-461D-BDDB-227FD752BF57}"/>
              </a:ext>
            </a:extLst>
          </p:cNvPr>
          <p:cNvCxnSpPr/>
          <p:nvPr/>
        </p:nvCxnSpPr>
        <p:spPr>
          <a:xfrm flipV="1">
            <a:off x="457791" y="3216056"/>
            <a:ext cx="8210595" cy="7115"/>
          </a:xfrm>
          <a:prstGeom prst="line">
            <a:avLst/>
          </a:prstGeom>
          <a:ln>
            <a:prstDash val="lgDash"/>
          </a:ln>
        </p:spPr>
        <p:style>
          <a:lnRef idx="3">
            <a:schemeClr val="accent1"/>
          </a:lnRef>
          <a:fillRef idx="0">
            <a:schemeClr val="accent1"/>
          </a:fillRef>
          <a:effectRef idx="2">
            <a:schemeClr val="accent1"/>
          </a:effectRef>
          <a:fontRef idx="minor">
            <a:schemeClr val="tx1"/>
          </a:fontRef>
        </p:style>
      </p:cxnSp>
      <p:sp>
        <p:nvSpPr>
          <p:cNvPr id="20" name="Rectangle: Rounded Corners 19">
            <a:extLst>
              <a:ext uri="{FF2B5EF4-FFF2-40B4-BE49-F238E27FC236}">
                <a16:creationId xmlns:a16="http://schemas.microsoft.com/office/drawing/2014/main" xmlns="" id="{5AD05E68-96FC-40D3-BB78-07423E890107}"/>
              </a:ext>
            </a:extLst>
          </p:cNvPr>
          <p:cNvSpPr/>
          <p:nvPr/>
        </p:nvSpPr>
        <p:spPr>
          <a:xfrm>
            <a:off x="3469569" y="4095184"/>
            <a:ext cx="2187038" cy="538652"/>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Key topics (codes)</a:t>
            </a:r>
          </a:p>
        </p:txBody>
      </p:sp>
      <p:sp>
        <p:nvSpPr>
          <p:cNvPr id="21" name="Rectangle: Rounded Corners 20">
            <a:extLst>
              <a:ext uri="{FF2B5EF4-FFF2-40B4-BE49-F238E27FC236}">
                <a16:creationId xmlns:a16="http://schemas.microsoft.com/office/drawing/2014/main" xmlns="" id="{3F417F08-1494-4311-9594-9666BCC3BF4B}"/>
              </a:ext>
            </a:extLst>
          </p:cNvPr>
          <p:cNvSpPr/>
          <p:nvPr/>
        </p:nvSpPr>
        <p:spPr>
          <a:xfrm>
            <a:off x="1019411" y="3430542"/>
            <a:ext cx="2676477" cy="51036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Domain literature review</a:t>
            </a:r>
          </a:p>
        </p:txBody>
      </p:sp>
      <p:sp>
        <p:nvSpPr>
          <p:cNvPr id="22" name="Rectangle: Rounded Corners 21">
            <a:extLst>
              <a:ext uri="{FF2B5EF4-FFF2-40B4-BE49-F238E27FC236}">
                <a16:creationId xmlns:a16="http://schemas.microsoft.com/office/drawing/2014/main" xmlns="" id="{26C71754-0792-4CBD-9199-912C4376DE1B}"/>
              </a:ext>
            </a:extLst>
          </p:cNvPr>
          <p:cNvSpPr/>
          <p:nvPr/>
        </p:nvSpPr>
        <p:spPr>
          <a:xfrm>
            <a:off x="5498685" y="3391666"/>
            <a:ext cx="2625903" cy="51036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Practitioner review</a:t>
            </a:r>
          </a:p>
        </p:txBody>
      </p:sp>
      <p:sp>
        <p:nvSpPr>
          <p:cNvPr id="23" name="Rectangle: Rounded Corners 22">
            <a:extLst>
              <a:ext uri="{FF2B5EF4-FFF2-40B4-BE49-F238E27FC236}">
                <a16:creationId xmlns:a16="http://schemas.microsoft.com/office/drawing/2014/main" xmlns="" id="{7CD646AB-E437-49D6-97BC-8B6A3CAA49FA}"/>
              </a:ext>
            </a:extLst>
          </p:cNvPr>
          <p:cNvSpPr/>
          <p:nvPr/>
        </p:nvSpPr>
        <p:spPr>
          <a:xfrm>
            <a:off x="2575739" y="2795308"/>
            <a:ext cx="4059248" cy="299237"/>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Content analytics extrapolated themes</a:t>
            </a:r>
          </a:p>
        </p:txBody>
      </p:sp>
      <p:sp>
        <p:nvSpPr>
          <p:cNvPr id="24" name="Rectangle: Rounded Corners 23">
            <a:extLst>
              <a:ext uri="{FF2B5EF4-FFF2-40B4-BE49-F238E27FC236}">
                <a16:creationId xmlns:a16="http://schemas.microsoft.com/office/drawing/2014/main" xmlns="" id="{65B4B8F8-88C5-4E12-B411-CD6EAB0F20FF}"/>
              </a:ext>
            </a:extLst>
          </p:cNvPr>
          <p:cNvSpPr/>
          <p:nvPr/>
        </p:nvSpPr>
        <p:spPr>
          <a:xfrm>
            <a:off x="6236457" y="4093709"/>
            <a:ext cx="2431929" cy="643096"/>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Coding’ of processed interview transcripts</a:t>
            </a:r>
          </a:p>
        </p:txBody>
      </p:sp>
      <p:sp>
        <p:nvSpPr>
          <p:cNvPr id="25" name="Arrow: Down 24">
            <a:extLst>
              <a:ext uri="{FF2B5EF4-FFF2-40B4-BE49-F238E27FC236}">
                <a16:creationId xmlns:a16="http://schemas.microsoft.com/office/drawing/2014/main" xmlns="" id="{9EA45754-9E39-4632-9309-573866F03FAF}"/>
              </a:ext>
            </a:extLst>
          </p:cNvPr>
          <p:cNvSpPr/>
          <p:nvPr/>
        </p:nvSpPr>
        <p:spPr>
          <a:xfrm>
            <a:off x="4447067" y="3373911"/>
            <a:ext cx="249865" cy="632166"/>
          </a:xfrm>
          <a:prstGeom prst="down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6" name="Arrow: Down 25">
            <a:extLst>
              <a:ext uri="{FF2B5EF4-FFF2-40B4-BE49-F238E27FC236}">
                <a16:creationId xmlns:a16="http://schemas.microsoft.com/office/drawing/2014/main" xmlns="" id="{38A2EA68-CE7B-4D61-86B9-5770196B6C43}"/>
              </a:ext>
            </a:extLst>
          </p:cNvPr>
          <p:cNvSpPr/>
          <p:nvPr/>
        </p:nvSpPr>
        <p:spPr>
          <a:xfrm rot="2863763">
            <a:off x="4901587" y="3472571"/>
            <a:ext cx="249865" cy="632166"/>
          </a:xfrm>
          <a:prstGeom prst="down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7" name="Arrow: Down 26">
            <a:extLst>
              <a:ext uri="{FF2B5EF4-FFF2-40B4-BE49-F238E27FC236}">
                <a16:creationId xmlns:a16="http://schemas.microsoft.com/office/drawing/2014/main" xmlns="" id="{B6BB8DAD-86EF-4243-B9DF-E76A0F89AF0B}"/>
              </a:ext>
            </a:extLst>
          </p:cNvPr>
          <p:cNvSpPr/>
          <p:nvPr/>
        </p:nvSpPr>
        <p:spPr>
          <a:xfrm rot="18501105">
            <a:off x="3965193" y="3480853"/>
            <a:ext cx="249865" cy="632166"/>
          </a:xfrm>
          <a:prstGeom prst="down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8" name="Arrow: Down 27">
            <a:extLst>
              <a:ext uri="{FF2B5EF4-FFF2-40B4-BE49-F238E27FC236}">
                <a16:creationId xmlns:a16="http://schemas.microsoft.com/office/drawing/2014/main" xmlns="" id="{6620FE03-75B4-478D-9EB6-90C0913D6C94}"/>
              </a:ext>
            </a:extLst>
          </p:cNvPr>
          <p:cNvSpPr/>
          <p:nvPr/>
        </p:nvSpPr>
        <p:spPr>
          <a:xfrm rot="16200000">
            <a:off x="5822826" y="4180061"/>
            <a:ext cx="249865" cy="470149"/>
          </a:xfrm>
          <a:prstGeom prst="downArrow">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394649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500"/>
                                        <p:tgtEl>
                                          <p:spTgt spid="2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6" grpId="0" animBg="1"/>
      <p:bldP spid="17"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D73B9-E617-45C5-BD19-1DD4AFE8CC0E}"/>
              </a:ext>
            </a:extLst>
          </p:cNvPr>
          <p:cNvSpPr>
            <a:spLocks noGrp="1"/>
          </p:cNvSpPr>
          <p:nvPr>
            <p:ph type="title"/>
          </p:nvPr>
        </p:nvSpPr>
        <p:spPr/>
        <p:txBody>
          <a:bodyPr/>
          <a:lstStyle/>
          <a:p>
            <a:r>
              <a:rPr lang="en-US" b="1" dirty="0"/>
              <a:t>CSDS Objectives - Conceptual Model for Responses</a:t>
            </a:r>
          </a:p>
        </p:txBody>
      </p:sp>
      <p:sp>
        <p:nvSpPr>
          <p:cNvPr id="3" name="Text Placeholder 2">
            <a:extLst>
              <a:ext uri="{FF2B5EF4-FFF2-40B4-BE49-F238E27FC236}">
                <a16:creationId xmlns:a16="http://schemas.microsoft.com/office/drawing/2014/main" xmlns="" id="{AB58FFB3-D8F1-4895-85FB-A89285AF6E27}"/>
              </a:ext>
            </a:extLst>
          </p:cNvPr>
          <p:cNvSpPr>
            <a:spLocks noGrp="1"/>
          </p:cNvSpPr>
          <p:nvPr>
            <p:ph type="body" sz="quarter" idx="12"/>
          </p:nvPr>
        </p:nvSpPr>
        <p:spPr/>
        <p:txBody>
          <a:bodyPr/>
          <a:lstStyle/>
          <a:p>
            <a:r>
              <a:rPr lang="en-US" dirty="0"/>
              <a:t>Framing and Relationships Amongst Topics</a:t>
            </a:r>
          </a:p>
        </p:txBody>
      </p:sp>
      <p:sp>
        <p:nvSpPr>
          <p:cNvPr id="6" name="Rectangle: Rounded Corners 5">
            <a:extLst>
              <a:ext uri="{FF2B5EF4-FFF2-40B4-BE49-F238E27FC236}">
                <a16:creationId xmlns:a16="http://schemas.microsoft.com/office/drawing/2014/main" xmlns="" id="{14AA24A5-6CD6-49BD-8AB6-D202177C3668}"/>
              </a:ext>
            </a:extLst>
          </p:cNvPr>
          <p:cNvSpPr/>
          <p:nvPr/>
        </p:nvSpPr>
        <p:spPr>
          <a:xfrm>
            <a:off x="2030817" y="3465822"/>
            <a:ext cx="2148661" cy="620790"/>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latin typeface="Arial" panose="020B0604020202020204" pitchFamily="34" charset="0"/>
                <a:cs typeface="Arial" panose="020B0604020202020204" pitchFamily="34" charset="0"/>
              </a:rPr>
              <a:t>CHALLENGES</a:t>
            </a:r>
          </a:p>
        </p:txBody>
      </p:sp>
      <p:sp>
        <p:nvSpPr>
          <p:cNvPr id="7" name="Rectangle: Rounded Corners 6">
            <a:extLst>
              <a:ext uri="{FF2B5EF4-FFF2-40B4-BE49-F238E27FC236}">
                <a16:creationId xmlns:a16="http://schemas.microsoft.com/office/drawing/2014/main" xmlns="" id="{4C67E011-DEC3-4069-8860-9688FD4B19D7}"/>
              </a:ext>
            </a:extLst>
          </p:cNvPr>
          <p:cNvSpPr/>
          <p:nvPr/>
        </p:nvSpPr>
        <p:spPr>
          <a:xfrm>
            <a:off x="3958959" y="1346672"/>
            <a:ext cx="1632380" cy="743064"/>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bg1"/>
                </a:solidFill>
                <a:latin typeface="Arial" panose="020B0604020202020204" pitchFamily="34" charset="0"/>
                <a:cs typeface="Arial" panose="020B0604020202020204" pitchFamily="34" charset="0"/>
              </a:rPr>
              <a:t>TRENDS</a:t>
            </a:r>
            <a:endParaRPr lang="en-US" b="1" dirty="0">
              <a:solidFill>
                <a:schemeClr val="bg1"/>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xmlns="" id="{791A61A8-8E43-4C7E-B01E-55C00A319C55}"/>
              </a:ext>
            </a:extLst>
          </p:cNvPr>
          <p:cNvSpPr/>
          <p:nvPr/>
        </p:nvSpPr>
        <p:spPr>
          <a:xfrm>
            <a:off x="1014444" y="2301029"/>
            <a:ext cx="1950470" cy="494414"/>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latin typeface="Arial" panose="020B0604020202020204" pitchFamily="34" charset="0"/>
                <a:cs typeface="Arial" panose="020B0604020202020204" pitchFamily="34" charset="0"/>
              </a:rPr>
              <a:t>THREATS</a:t>
            </a:r>
          </a:p>
        </p:txBody>
      </p:sp>
      <p:sp>
        <p:nvSpPr>
          <p:cNvPr id="10" name="Rectangle: Rounded Corners 9">
            <a:extLst>
              <a:ext uri="{FF2B5EF4-FFF2-40B4-BE49-F238E27FC236}">
                <a16:creationId xmlns:a16="http://schemas.microsoft.com/office/drawing/2014/main" xmlns="" id="{A6A1730F-92F7-49F1-9356-62CAB1AF6C9C}"/>
              </a:ext>
            </a:extLst>
          </p:cNvPr>
          <p:cNvSpPr/>
          <p:nvPr/>
        </p:nvSpPr>
        <p:spPr>
          <a:xfrm>
            <a:off x="5023881" y="3332915"/>
            <a:ext cx="2005592" cy="886604"/>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latin typeface="Arial" panose="020B0604020202020204" pitchFamily="34" charset="0"/>
                <a:cs typeface="Arial" panose="020B0604020202020204" pitchFamily="34" charset="0"/>
              </a:rPr>
              <a:t>BEST PRACTICES</a:t>
            </a:r>
          </a:p>
        </p:txBody>
      </p:sp>
      <p:sp>
        <p:nvSpPr>
          <p:cNvPr id="11" name="Rectangle: Rounded Corners 10">
            <a:extLst>
              <a:ext uri="{FF2B5EF4-FFF2-40B4-BE49-F238E27FC236}">
                <a16:creationId xmlns:a16="http://schemas.microsoft.com/office/drawing/2014/main" xmlns="" id="{9F2F682E-37BC-44ED-826F-3314C4EE9BAB}"/>
              </a:ext>
            </a:extLst>
          </p:cNvPr>
          <p:cNvSpPr/>
          <p:nvPr/>
        </p:nvSpPr>
        <p:spPr>
          <a:xfrm>
            <a:off x="6692434" y="2277980"/>
            <a:ext cx="1688806" cy="621539"/>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latin typeface="Arial" panose="020B0604020202020204" pitchFamily="34" charset="0"/>
                <a:cs typeface="Arial" panose="020B0604020202020204" pitchFamily="34" charset="0"/>
              </a:rPr>
              <a:t>ADJACENT DOMAINS</a:t>
            </a:r>
          </a:p>
        </p:txBody>
      </p:sp>
      <p:cxnSp>
        <p:nvCxnSpPr>
          <p:cNvPr id="18" name="Straight Arrow Connector 17">
            <a:extLst>
              <a:ext uri="{FF2B5EF4-FFF2-40B4-BE49-F238E27FC236}">
                <a16:creationId xmlns:a16="http://schemas.microsoft.com/office/drawing/2014/main" xmlns="" id="{73A58864-3F60-4730-8D67-75ECD0377CCA}"/>
              </a:ext>
            </a:extLst>
          </p:cNvPr>
          <p:cNvCxnSpPr>
            <a:cxnSpLocks/>
            <a:stCxn id="7" idx="2"/>
            <a:endCxn id="6" idx="0"/>
          </p:cNvCxnSpPr>
          <p:nvPr/>
        </p:nvCxnSpPr>
        <p:spPr>
          <a:xfrm flipH="1">
            <a:off x="3105148" y="2089736"/>
            <a:ext cx="1670001" cy="13760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1" name="Straight Arrow Connector 20">
            <a:extLst>
              <a:ext uri="{FF2B5EF4-FFF2-40B4-BE49-F238E27FC236}">
                <a16:creationId xmlns:a16="http://schemas.microsoft.com/office/drawing/2014/main" xmlns="" id="{B3143933-4AC6-4DD0-BE1D-B60B5B422E42}"/>
              </a:ext>
            </a:extLst>
          </p:cNvPr>
          <p:cNvCxnSpPr>
            <a:cxnSpLocks/>
            <a:stCxn id="7" idx="2"/>
            <a:endCxn id="10" idx="0"/>
          </p:cNvCxnSpPr>
          <p:nvPr/>
        </p:nvCxnSpPr>
        <p:spPr>
          <a:xfrm>
            <a:off x="4775149" y="2089736"/>
            <a:ext cx="1251528" cy="12431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xmlns="" id="{342B6E64-7DE7-4EDF-955F-7C53782B70FE}"/>
              </a:ext>
            </a:extLst>
          </p:cNvPr>
          <p:cNvCxnSpPr>
            <a:cxnSpLocks/>
            <a:stCxn id="7" idx="1"/>
            <a:endCxn id="8" idx="0"/>
          </p:cNvCxnSpPr>
          <p:nvPr/>
        </p:nvCxnSpPr>
        <p:spPr>
          <a:xfrm flipH="1">
            <a:off x="1989679" y="1718204"/>
            <a:ext cx="1969280" cy="5828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1" name="Straight Arrow Connector 30">
            <a:extLst>
              <a:ext uri="{FF2B5EF4-FFF2-40B4-BE49-F238E27FC236}">
                <a16:creationId xmlns:a16="http://schemas.microsoft.com/office/drawing/2014/main" xmlns="" id="{5A9A0237-1411-46D2-AC5B-3284CAF22F70}"/>
              </a:ext>
            </a:extLst>
          </p:cNvPr>
          <p:cNvCxnSpPr>
            <a:cxnSpLocks/>
            <a:stCxn id="7" idx="3"/>
            <a:endCxn id="11" idx="0"/>
          </p:cNvCxnSpPr>
          <p:nvPr/>
        </p:nvCxnSpPr>
        <p:spPr>
          <a:xfrm>
            <a:off x="5591339" y="1718204"/>
            <a:ext cx="1945498" cy="5597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4" name="Straight Arrow Connector 33">
            <a:extLst>
              <a:ext uri="{FF2B5EF4-FFF2-40B4-BE49-F238E27FC236}">
                <a16:creationId xmlns:a16="http://schemas.microsoft.com/office/drawing/2014/main" xmlns="" id="{DE9AB74E-65F3-4937-AEEC-D19CEA42CE0F}"/>
              </a:ext>
            </a:extLst>
          </p:cNvPr>
          <p:cNvCxnSpPr>
            <a:cxnSpLocks/>
            <a:stCxn id="11" idx="2"/>
            <a:endCxn id="10" idx="3"/>
          </p:cNvCxnSpPr>
          <p:nvPr/>
        </p:nvCxnSpPr>
        <p:spPr>
          <a:xfrm flipH="1">
            <a:off x="7029473" y="2899519"/>
            <a:ext cx="507364" cy="8766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0" name="Straight Arrow Connector 39">
            <a:extLst>
              <a:ext uri="{FF2B5EF4-FFF2-40B4-BE49-F238E27FC236}">
                <a16:creationId xmlns:a16="http://schemas.microsoft.com/office/drawing/2014/main" xmlns="" id="{F63C4A17-70E9-44DE-99C1-FBEF3D120E99}"/>
              </a:ext>
            </a:extLst>
          </p:cNvPr>
          <p:cNvCxnSpPr>
            <a:cxnSpLocks/>
            <a:stCxn id="8" idx="2"/>
            <a:endCxn id="6" idx="0"/>
          </p:cNvCxnSpPr>
          <p:nvPr/>
        </p:nvCxnSpPr>
        <p:spPr>
          <a:xfrm>
            <a:off x="1989679" y="2795443"/>
            <a:ext cx="1115469" cy="670379"/>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43" name="Straight Arrow Connector 42">
            <a:extLst>
              <a:ext uri="{FF2B5EF4-FFF2-40B4-BE49-F238E27FC236}">
                <a16:creationId xmlns:a16="http://schemas.microsoft.com/office/drawing/2014/main" xmlns="" id="{4869C82D-29F7-48AD-80D0-A74A03775A15}"/>
              </a:ext>
            </a:extLst>
          </p:cNvPr>
          <p:cNvCxnSpPr>
            <a:cxnSpLocks/>
            <a:stCxn id="6" idx="3"/>
            <a:endCxn id="10" idx="1"/>
          </p:cNvCxnSpPr>
          <p:nvPr/>
        </p:nvCxnSpPr>
        <p:spPr>
          <a:xfrm>
            <a:off x="4179478" y="3776217"/>
            <a:ext cx="844403"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4" name="Rectangle: Rounded Corners 73">
            <a:extLst>
              <a:ext uri="{FF2B5EF4-FFF2-40B4-BE49-F238E27FC236}">
                <a16:creationId xmlns:a16="http://schemas.microsoft.com/office/drawing/2014/main" xmlns="" id="{00622AA8-BC8F-4364-9742-38B15EC142AC}"/>
              </a:ext>
            </a:extLst>
          </p:cNvPr>
          <p:cNvSpPr/>
          <p:nvPr/>
        </p:nvSpPr>
        <p:spPr>
          <a:xfrm>
            <a:off x="4775148" y="3141154"/>
            <a:ext cx="2468205" cy="1223573"/>
          </a:xfrm>
          <a:prstGeom prst="roundRect">
            <a:avLst/>
          </a:prstGeom>
          <a:noFill/>
          <a:ln w="38100">
            <a:solidFill>
              <a:srgbClr val="00CC00"/>
            </a:solid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75" name="Rectangle: Rounded Corners 74">
            <a:extLst>
              <a:ext uri="{FF2B5EF4-FFF2-40B4-BE49-F238E27FC236}">
                <a16:creationId xmlns:a16="http://schemas.microsoft.com/office/drawing/2014/main" xmlns="" id="{E10BE5C2-7C26-4D68-9EA5-FF28A0AC44DF}"/>
              </a:ext>
            </a:extLst>
          </p:cNvPr>
          <p:cNvSpPr/>
          <p:nvPr/>
        </p:nvSpPr>
        <p:spPr>
          <a:xfrm>
            <a:off x="473149" y="1142839"/>
            <a:ext cx="8341242" cy="3470010"/>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9" name="Rectangle: Rounded Corners 18">
            <a:extLst>
              <a:ext uri="{FF2B5EF4-FFF2-40B4-BE49-F238E27FC236}">
                <a16:creationId xmlns:a16="http://schemas.microsoft.com/office/drawing/2014/main" xmlns="" id="{71FA4514-507C-45DE-9A2B-3D10BED351D1}"/>
              </a:ext>
            </a:extLst>
          </p:cNvPr>
          <p:cNvSpPr/>
          <p:nvPr/>
        </p:nvSpPr>
        <p:spPr>
          <a:xfrm>
            <a:off x="897862" y="2115156"/>
            <a:ext cx="2207286" cy="897340"/>
          </a:xfrm>
          <a:prstGeom prst="roundRect">
            <a:avLst/>
          </a:prstGeom>
          <a:noFill/>
          <a:ln w="38100"/>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0" name="Rectangle: Rounded Corners 19">
            <a:extLst>
              <a:ext uri="{FF2B5EF4-FFF2-40B4-BE49-F238E27FC236}">
                <a16:creationId xmlns:a16="http://schemas.microsoft.com/office/drawing/2014/main" xmlns="" id="{C1F6A06C-E18F-45A8-BF2D-40277E71BC38}"/>
              </a:ext>
            </a:extLst>
          </p:cNvPr>
          <p:cNvSpPr/>
          <p:nvPr/>
        </p:nvSpPr>
        <p:spPr>
          <a:xfrm>
            <a:off x="3812938" y="1229408"/>
            <a:ext cx="1945499" cy="989749"/>
          </a:xfrm>
          <a:prstGeom prst="roundRect">
            <a:avLst/>
          </a:prstGeom>
          <a:noFill/>
          <a:ln w="38100">
            <a:solidFill>
              <a:srgbClr val="C00000"/>
            </a:solidFill>
            <a:prstDash val="dash"/>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2" name="Rectangle: Rounded Corners 21">
            <a:extLst>
              <a:ext uri="{FF2B5EF4-FFF2-40B4-BE49-F238E27FC236}">
                <a16:creationId xmlns:a16="http://schemas.microsoft.com/office/drawing/2014/main" xmlns="" id="{D79E749C-7592-4CB0-B20F-9B4AB211A339}"/>
              </a:ext>
            </a:extLst>
          </p:cNvPr>
          <p:cNvSpPr/>
          <p:nvPr/>
        </p:nvSpPr>
        <p:spPr>
          <a:xfrm>
            <a:off x="6562804" y="2165003"/>
            <a:ext cx="1945499" cy="847493"/>
          </a:xfrm>
          <a:prstGeom prst="roundRect">
            <a:avLst/>
          </a:prstGeom>
          <a:noFill/>
          <a:ln w="38100"/>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3" name="Rectangle: Rounded Corners 22">
            <a:extLst>
              <a:ext uri="{FF2B5EF4-FFF2-40B4-BE49-F238E27FC236}">
                <a16:creationId xmlns:a16="http://schemas.microsoft.com/office/drawing/2014/main" xmlns="" id="{FF211D79-1507-4243-80FE-DA77A352260A}"/>
              </a:ext>
            </a:extLst>
          </p:cNvPr>
          <p:cNvSpPr/>
          <p:nvPr/>
        </p:nvSpPr>
        <p:spPr>
          <a:xfrm>
            <a:off x="1900646" y="3310484"/>
            <a:ext cx="2429691" cy="909036"/>
          </a:xfrm>
          <a:prstGeom prst="roundRect">
            <a:avLst/>
          </a:prstGeom>
          <a:noFill/>
          <a:ln w="38100">
            <a:solidFill>
              <a:srgbClr val="00CC00"/>
            </a:solid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2865616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500"/>
                                        <p:tgtEl>
                                          <p:spTgt spid="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19" grpId="0" animBg="1"/>
      <p:bldP spid="20" grpId="0" animBg="1"/>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823732"/>
            <a:ext cx="9144000" cy="1200329"/>
          </a:xfrm>
        </p:spPr>
        <p:txBody>
          <a:bodyPr/>
          <a:lstStyle/>
          <a:p>
            <a:r>
              <a:rPr lang="en-US" sz="4400" b="1" dirty="0"/>
              <a:t>Threats &amp; Adjacent Domains</a:t>
            </a:r>
            <a:br>
              <a:rPr lang="en-US" sz="4400" b="1" dirty="0"/>
            </a:br>
            <a:r>
              <a:rPr lang="en-US" sz="2800" dirty="0"/>
              <a:t>CSDS Professional Perspectives</a:t>
            </a:r>
            <a:endParaRPr lang="en-US" sz="2400" dirty="0"/>
          </a:p>
        </p:txBody>
      </p:sp>
    </p:spTree>
    <p:extLst>
      <p:ext uri="{BB962C8B-B14F-4D97-AF65-F5344CB8AC3E}">
        <p14:creationId xmlns:p14="http://schemas.microsoft.com/office/powerpoint/2010/main" val="18057659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54DEDF-7777-4B2E-BFC9-8BF8B3C4E6A7}"/>
              </a:ext>
            </a:extLst>
          </p:cNvPr>
          <p:cNvSpPr>
            <a:spLocks noGrp="1"/>
          </p:cNvSpPr>
          <p:nvPr>
            <p:ph type="title"/>
          </p:nvPr>
        </p:nvSpPr>
        <p:spPr>
          <a:xfrm>
            <a:off x="2083525" y="113507"/>
            <a:ext cx="6517237" cy="457200"/>
          </a:xfrm>
        </p:spPr>
        <p:txBody>
          <a:bodyPr/>
          <a:lstStyle/>
          <a:p>
            <a:r>
              <a:rPr lang="en-US" b="1" u="sng" dirty="0"/>
              <a:t>THREATS</a:t>
            </a:r>
            <a:r>
              <a:rPr lang="en-US" b="1" dirty="0"/>
              <a:t>: 13 Adversarial Trends</a:t>
            </a:r>
          </a:p>
        </p:txBody>
      </p:sp>
      <p:sp>
        <p:nvSpPr>
          <p:cNvPr id="4" name="Rectangle: Rounded Corners 3">
            <a:extLst>
              <a:ext uri="{FF2B5EF4-FFF2-40B4-BE49-F238E27FC236}">
                <a16:creationId xmlns:a16="http://schemas.microsoft.com/office/drawing/2014/main" xmlns="" id="{575E1B09-486F-4034-A75F-C82A87B76E35}"/>
              </a:ext>
            </a:extLst>
          </p:cNvPr>
          <p:cNvSpPr/>
          <p:nvPr/>
        </p:nvSpPr>
        <p:spPr>
          <a:xfrm>
            <a:off x="264620" y="294461"/>
            <a:ext cx="2210295" cy="230094"/>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Internal threats</a:t>
            </a:r>
          </a:p>
        </p:txBody>
      </p:sp>
      <p:sp>
        <p:nvSpPr>
          <p:cNvPr id="6" name="Rectangle: Rounded Corners 5">
            <a:extLst>
              <a:ext uri="{FF2B5EF4-FFF2-40B4-BE49-F238E27FC236}">
                <a16:creationId xmlns:a16="http://schemas.microsoft.com/office/drawing/2014/main" xmlns="" id="{E8B873A6-A71B-4A00-9834-A58373C59761}"/>
              </a:ext>
            </a:extLst>
          </p:cNvPr>
          <p:cNvSpPr/>
          <p:nvPr/>
        </p:nvSpPr>
        <p:spPr>
          <a:xfrm>
            <a:off x="264620" y="653785"/>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Inherent vulnerabilities</a:t>
            </a:r>
          </a:p>
        </p:txBody>
      </p:sp>
      <p:sp>
        <p:nvSpPr>
          <p:cNvPr id="7" name="Rectangle: Rounded Corners 6">
            <a:extLst>
              <a:ext uri="{FF2B5EF4-FFF2-40B4-BE49-F238E27FC236}">
                <a16:creationId xmlns:a16="http://schemas.microsoft.com/office/drawing/2014/main" xmlns="" id="{7DF5CC96-B2C6-4E15-A9E0-BD9157581982}"/>
              </a:ext>
            </a:extLst>
          </p:cNvPr>
          <p:cNvSpPr/>
          <p:nvPr/>
        </p:nvSpPr>
        <p:spPr>
          <a:xfrm>
            <a:off x="264620" y="1013108"/>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Reverse engineering detection</a:t>
            </a:r>
          </a:p>
        </p:txBody>
      </p:sp>
      <p:sp>
        <p:nvSpPr>
          <p:cNvPr id="8" name="Rectangle: Rounded Corners 7">
            <a:extLst>
              <a:ext uri="{FF2B5EF4-FFF2-40B4-BE49-F238E27FC236}">
                <a16:creationId xmlns:a16="http://schemas.microsoft.com/office/drawing/2014/main" xmlns="" id="{7A3D6445-8401-4D8F-BAF8-4467A0626859}"/>
              </a:ext>
            </a:extLst>
          </p:cNvPr>
          <p:cNvSpPr/>
          <p:nvPr/>
        </p:nvSpPr>
        <p:spPr>
          <a:xfrm>
            <a:off x="264625" y="4640890"/>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Adversarial ML</a:t>
            </a:r>
          </a:p>
        </p:txBody>
      </p:sp>
      <p:sp>
        <p:nvSpPr>
          <p:cNvPr id="9" name="Rectangle: Rounded Corners 8">
            <a:extLst>
              <a:ext uri="{FF2B5EF4-FFF2-40B4-BE49-F238E27FC236}">
                <a16:creationId xmlns:a16="http://schemas.microsoft.com/office/drawing/2014/main" xmlns="" id="{4B195585-C10B-433D-9CB5-7908E26076E5}"/>
              </a:ext>
            </a:extLst>
          </p:cNvPr>
          <p:cNvSpPr/>
          <p:nvPr/>
        </p:nvSpPr>
        <p:spPr>
          <a:xfrm>
            <a:off x="264624" y="1385040"/>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Automated attacks increasing</a:t>
            </a:r>
          </a:p>
        </p:txBody>
      </p:sp>
      <p:sp>
        <p:nvSpPr>
          <p:cNvPr id="10" name="Rectangle: Rounded Corners 9">
            <a:extLst>
              <a:ext uri="{FF2B5EF4-FFF2-40B4-BE49-F238E27FC236}">
                <a16:creationId xmlns:a16="http://schemas.microsoft.com/office/drawing/2014/main" xmlns="" id="{BD19AEF5-CEAD-4041-9834-00DC9222E32C}"/>
              </a:ext>
            </a:extLst>
          </p:cNvPr>
          <p:cNvSpPr/>
          <p:nvPr/>
        </p:nvSpPr>
        <p:spPr>
          <a:xfrm>
            <a:off x="264624" y="1744363"/>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Exploiting new tech vectors</a:t>
            </a:r>
          </a:p>
        </p:txBody>
      </p:sp>
      <p:sp>
        <p:nvSpPr>
          <p:cNvPr id="11" name="Rectangle: Rounded Corners 10">
            <a:extLst>
              <a:ext uri="{FF2B5EF4-FFF2-40B4-BE49-F238E27FC236}">
                <a16:creationId xmlns:a16="http://schemas.microsoft.com/office/drawing/2014/main" xmlns="" id="{A900DF43-BBAE-4213-A1D8-610D76F066D5}"/>
              </a:ext>
            </a:extLst>
          </p:cNvPr>
          <p:cNvSpPr/>
          <p:nvPr/>
        </p:nvSpPr>
        <p:spPr>
          <a:xfrm>
            <a:off x="264624" y="2103686"/>
            <a:ext cx="2210295" cy="230094"/>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ocial engineering </a:t>
            </a:r>
          </a:p>
        </p:txBody>
      </p:sp>
      <p:sp>
        <p:nvSpPr>
          <p:cNvPr id="12" name="Rectangle: Rounded Corners 11">
            <a:extLst>
              <a:ext uri="{FF2B5EF4-FFF2-40B4-BE49-F238E27FC236}">
                <a16:creationId xmlns:a16="http://schemas.microsoft.com/office/drawing/2014/main" xmlns="" id="{42B68547-B6EF-4372-8E16-A5DEB03225A3}"/>
              </a:ext>
            </a:extLst>
          </p:cNvPr>
          <p:cNvSpPr/>
          <p:nvPr/>
        </p:nvSpPr>
        <p:spPr>
          <a:xfrm>
            <a:off x="264625" y="2463010"/>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Ransomware-as-a-service</a:t>
            </a:r>
          </a:p>
        </p:txBody>
      </p:sp>
      <p:sp>
        <p:nvSpPr>
          <p:cNvPr id="13" name="Rectangle: Rounded Corners 12">
            <a:extLst>
              <a:ext uri="{FF2B5EF4-FFF2-40B4-BE49-F238E27FC236}">
                <a16:creationId xmlns:a16="http://schemas.microsoft.com/office/drawing/2014/main" xmlns="" id="{573890E1-C558-46A9-8897-85C1F834AE00}"/>
              </a:ext>
            </a:extLst>
          </p:cNvPr>
          <p:cNvSpPr/>
          <p:nvPr/>
        </p:nvSpPr>
        <p:spPr>
          <a:xfrm>
            <a:off x="264625" y="2822333"/>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Crypto-jacking</a:t>
            </a:r>
          </a:p>
        </p:txBody>
      </p:sp>
      <p:sp>
        <p:nvSpPr>
          <p:cNvPr id="14" name="Rectangle: Rounded Corners 13">
            <a:extLst>
              <a:ext uri="{FF2B5EF4-FFF2-40B4-BE49-F238E27FC236}">
                <a16:creationId xmlns:a16="http://schemas.microsoft.com/office/drawing/2014/main" xmlns="" id="{BF791476-141B-4319-8CDF-5E9FB658FA5A}"/>
              </a:ext>
            </a:extLst>
          </p:cNvPr>
          <p:cNvSpPr/>
          <p:nvPr/>
        </p:nvSpPr>
        <p:spPr>
          <a:xfrm>
            <a:off x="264621" y="3181656"/>
            <a:ext cx="2210295" cy="230094"/>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Continual adaptation</a:t>
            </a:r>
          </a:p>
        </p:txBody>
      </p:sp>
      <p:sp>
        <p:nvSpPr>
          <p:cNvPr id="15" name="Rectangle: Rounded Corners 14">
            <a:extLst>
              <a:ext uri="{FF2B5EF4-FFF2-40B4-BE49-F238E27FC236}">
                <a16:creationId xmlns:a16="http://schemas.microsoft.com/office/drawing/2014/main" xmlns="" id="{3F984F1F-9F8A-4653-AED1-BA82F78A9593}"/>
              </a:ext>
            </a:extLst>
          </p:cNvPr>
          <p:cNvSpPr/>
          <p:nvPr/>
        </p:nvSpPr>
        <p:spPr>
          <a:xfrm>
            <a:off x="264622" y="3540980"/>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tate actors =&gt; machine learning</a:t>
            </a:r>
          </a:p>
        </p:txBody>
      </p:sp>
      <p:sp>
        <p:nvSpPr>
          <p:cNvPr id="16" name="Rectangle: Rounded Corners 15">
            <a:extLst>
              <a:ext uri="{FF2B5EF4-FFF2-40B4-BE49-F238E27FC236}">
                <a16:creationId xmlns:a16="http://schemas.microsoft.com/office/drawing/2014/main" xmlns="" id="{1758B128-EE3D-462B-ABAC-EE720081BB99}"/>
              </a:ext>
            </a:extLst>
          </p:cNvPr>
          <p:cNvSpPr/>
          <p:nvPr/>
        </p:nvSpPr>
        <p:spPr>
          <a:xfrm>
            <a:off x="264623" y="3900303"/>
            <a:ext cx="2210295" cy="230093"/>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Time-to-detection / dwell time</a:t>
            </a:r>
          </a:p>
        </p:txBody>
      </p:sp>
      <p:sp>
        <p:nvSpPr>
          <p:cNvPr id="17" name="Rectangle: Rounded Corners 16">
            <a:extLst>
              <a:ext uri="{FF2B5EF4-FFF2-40B4-BE49-F238E27FC236}">
                <a16:creationId xmlns:a16="http://schemas.microsoft.com/office/drawing/2014/main" xmlns="" id="{53600B5E-63AF-4762-9CFF-135ED07ACFC4}"/>
              </a:ext>
            </a:extLst>
          </p:cNvPr>
          <p:cNvSpPr/>
          <p:nvPr/>
        </p:nvSpPr>
        <p:spPr>
          <a:xfrm>
            <a:off x="264625" y="4259621"/>
            <a:ext cx="2210295" cy="230094"/>
          </a:xfrm>
          <a:prstGeom prst="roundRect">
            <a:avLst/>
          </a:prstGeom>
          <a:solidFill>
            <a:srgbClr val="FF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Industry-specific attacks</a:t>
            </a:r>
          </a:p>
        </p:txBody>
      </p:sp>
      <p:sp>
        <p:nvSpPr>
          <p:cNvPr id="18" name="Speech Bubble: Rectangle with Corners Rounded 17">
            <a:extLst>
              <a:ext uri="{FF2B5EF4-FFF2-40B4-BE49-F238E27FC236}">
                <a16:creationId xmlns:a16="http://schemas.microsoft.com/office/drawing/2014/main" xmlns="" id="{B6C7882D-BA3B-4084-93DC-4C5FDF91699F}"/>
              </a:ext>
            </a:extLst>
          </p:cNvPr>
          <p:cNvSpPr/>
          <p:nvPr/>
        </p:nvSpPr>
        <p:spPr>
          <a:xfrm>
            <a:off x="3750469" y="3905167"/>
            <a:ext cx="4569815" cy="877997"/>
          </a:xfrm>
          <a:prstGeom prst="wedgeRoundRectCallout">
            <a:avLst>
              <a:gd name="adj1" fmla="val -78005"/>
              <a:gd name="adj2" fmla="val 47097"/>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latin typeface="Arial" panose="020B0604020202020204" pitchFamily="34" charset="0"/>
                <a:cs typeface="Arial" panose="020B0604020202020204" pitchFamily="34" charset="0"/>
              </a:rPr>
              <a:t>i.e. Reverse engineering and confusing / tricking ML models (seeding false data)… Although a ‘hot topic’ in academic research, few indications of incidents.</a:t>
            </a:r>
          </a:p>
        </p:txBody>
      </p:sp>
      <p:sp>
        <p:nvSpPr>
          <p:cNvPr id="19" name="Speech Bubble: Rectangle with Corners Rounded 18">
            <a:extLst>
              <a:ext uri="{FF2B5EF4-FFF2-40B4-BE49-F238E27FC236}">
                <a16:creationId xmlns:a16="http://schemas.microsoft.com/office/drawing/2014/main" xmlns="" id="{4C309D00-D760-4C99-92EA-1D68B2092F93}"/>
              </a:ext>
            </a:extLst>
          </p:cNvPr>
          <p:cNvSpPr/>
          <p:nvPr/>
        </p:nvSpPr>
        <p:spPr>
          <a:xfrm>
            <a:off x="4063857" y="802920"/>
            <a:ext cx="4256427" cy="679371"/>
          </a:xfrm>
          <a:prstGeom prst="wedgeRoundRectCallout">
            <a:avLst>
              <a:gd name="adj1" fmla="val -87355"/>
              <a:gd name="adj2" fmla="val 52000"/>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latin typeface="Arial" panose="020B0604020202020204" pitchFamily="34" charset="0"/>
                <a:cs typeface="Arial" panose="020B0604020202020204" pitchFamily="34" charset="0"/>
              </a:rPr>
              <a:t>White hat tools (i.e. PEN testing) often quickly end up being repurposed for black hat purposes…</a:t>
            </a:r>
          </a:p>
        </p:txBody>
      </p:sp>
      <p:sp>
        <p:nvSpPr>
          <p:cNvPr id="20" name="Speech Bubble: Rectangle with Corners Rounded 19">
            <a:extLst>
              <a:ext uri="{FF2B5EF4-FFF2-40B4-BE49-F238E27FC236}">
                <a16:creationId xmlns:a16="http://schemas.microsoft.com/office/drawing/2014/main" xmlns="" id="{D6AD30FF-CD90-4D2A-B6E4-2317CD426523}"/>
              </a:ext>
            </a:extLst>
          </p:cNvPr>
          <p:cNvSpPr/>
          <p:nvPr/>
        </p:nvSpPr>
        <p:spPr>
          <a:xfrm>
            <a:off x="4827117" y="1724098"/>
            <a:ext cx="2306715" cy="759175"/>
          </a:xfrm>
          <a:prstGeom prst="wedgeRoundRectCallout">
            <a:avLst>
              <a:gd name="adj1" fmla="val -152127"/>
              <a:gd name="adj2" fmla="val 109025"/>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latin typeface="Arial" panose="020B0604020202020204" pitchFamily="34" charset="0"/>
                <a:cs typeface="Arial" panose="020B0604020202020204" pitchFamily="34" charset="0"/>
              </a:rPr>
              <a:t>Adversarial objectives evolve to optimize economic risk-reward</a:t>
            </a:r>
          </a:p>
        </p:txBody>
      </p:sp>
      <p:sp>
        <p:nvSpPr>
          <p:cNvPr id="21" name="Speech Bubble: Rectangle with Corners Rounded 20">
            <a:extLst>
              <a:ext uri="{FF2B5EF4-FFF2-40B4-BE49-F238E27FC236}">
                <a16:creationId xmlns:a16="http://schemas.microsoft.com/office/drawing/2014/main" xmlns="" id="{554A1A2E-78EC-4C9E-9CFB-10841C06717F}"/>
              </a:ext>
            </a:extLst>
          </p:cNvPr>
          <p:cNvSpPr/>
          <p:nvPr/>
        </p:nvSpPr>
        <p:spPr>
          <a:xfrm>
            <a:off x="5505550" y="2725080"/>
            <a:ext cx="2704663" cy="877997"/>
          </a:xfrm>
          <a:prstGeom prst="wedgeRoundRectCallout">
            <a:avLst>
              <a:gd name="adj1" fmla="val -161116"/>
              <a:gd name="adj2" fmla="val 55966"/>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latin typeface="Arial" panose="020B0604020202020204" pitchFamily="34" charset="0"/>
                <a:cs typeface="Arial" panose="020B0604020202020204" pitchFamily="34" charset="0"/>
              </a:rPr>
              <a:t>Much disagreement, from indignant disbelief to notion of manifest destiny</a:t>
            </a:r>
          </a:p>
        </p:txBody>
      </p:sp>
      <p:sp>
        <p:nvSpPr>
          <p:cNvPr id="5" name="Arrow: Up 4">
            <a:extLst>
              <a:ext uri="{FF2B5EF4-FFF2-40B4-BE49-F238E27FC236}">
                <a16:creationId xmlns:a16="http://schemas.microsoft.com/office/drawing/2014/main" xmlns="" id="{392C0FB5-373D-4F9A-B66C-A0ABCB4B1E02}"/>
              </a:ext>
            </a:extLst>
          </p:cNvPr>
          <p:cNvSpPr/>
          <p:nvPr/>
        </p:nvSpPr>
        <p:spPr>
          <a:xfrm rot="10800000">
            <a:off x="2153752" y="2619127"/>
            <a:ext cx="204039" cy="255237"/>
          </a:xfrm>
          <a:prstGeom prst="upArrow">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3964764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41905E-BE50-4253-BCC4-766627B44CA5}"/>
              </a:ext>
            </a:extLst>
          </p:cNvPr>
          <p:cNvSpPr>
            <a:spLocks noGrp="1"/>
          </p:cNvSpPr>
          <p:nvPr>
            <p:ph type="title"/>
          </p:nvPr>
        </p:nvSpPr>
        <p:spPr>
          <a:xfrm>
            <a:off x="626364" y="122123"/>
            <a:ext cx="7891272" cy="457200"/>
          </a:xfrm>
        </p:spPr>
        <p:txBody>
          <a:bodyPr/>
          <a:lstStyle/>
          <a:p>
            <a:r>
              <a:rPr lang="en-US" b="1" u="sng" dirty="0"/>
              <a:t>METHODS</a:t>
            </a:r>
            <a:r>
              <a:rPr lang="en-US" b="1" dirty="0"/>
              <a:t>: 8 Influential Adjacent Domains</a:t>
            </a:r>
          </a:p>
        </p:txBody>
      </p:sp>
      <p:sp>
        <p:nvSpPr>
          <p:cNvPr id="6" name="Rectangle: Rounded Corners 5">
            <a:extLst>
              <a:ext uri="{FF2B5EF4-FFF2-40B4-BE49-F238E27FC236}">
                <a16:creationId xmlns:a16="http://schemas.microsoft.com/office/drawing/2014/main" xmlns="" id="{E1BA341A-18EA-40B9-8E7E-9A02DDEE3057}"/>
              </a:ext>
            </a:extLst>
          </p:cNvPr>
          <p:cNvSpPr/>
          <p:nvPr/>
        </p:nvSpPr>
        <p:spPr>
          <a:xfrm>
            <a:off x="412638" y="887881"/>
            <a:ext cx="3131287" cy="354237"/>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Social &amp; behavioral sciences</a:t>
            </a:r>
          </a:p>
        </p:txBody>
      </p:sp>
      <p:sp>
        <p:nvSpPr>
          <p:cNvPr id="8" name="Rectangle: Rounded Corners 7">
            <a:extLst>
              <a:ext uri="{FF2B5EF4-FFF2-40B4-BE49-F238E27FC236}">
                <a16:creationId xmlns:a16="http://schemas.microsoft.com/office/drawing/2014/main" xmlns="" id="{49671DCF-28B8-4C75-B93A-ADAECF090AF2}"/>
              </a:ext>
            </a:extLst>
          </p:cNvPr>
          <p:cNvSpPr/>
          <p:nvPr/>
        </p:nvSpPr>
        <p:spPr>
          <a:xfrm>
            <a:off x="412638" y="1363312"/>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Fraud / forensics / criminology</a:t>
            </a:r>
          </a:p>
        </p:txBody>
      </p:sp>
      <p:sp>
        <p:nvSpPr>
          <p:cNvPr id="9" name="Rectangle: Rounded Corners 8">
            <a:extLst>
              <a:ext uri="{FF2B5EF4-FFF2-40B4-BE49-F238E27FC236}">
                <a16:creationId xmlns:a16="http://schemas.microsoft.com/office/drawing/2014/main" xmlns="" id="{7AECC8BA-4BBB-483C-BE26-9D897DAD999E}"/>
              </a:ext>
            </a:extLst>
          </p:cNvPr>
          <p:cNvSpPr/>
          <p:nvPr/>
        </p:nvSpPr>
        <p:spPr>
          <a:xfrm>
            <a:off x="412638" y="1838741"/>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Medical, epidemiological, ecological</a:t>
            </a:r>
          </a:p>
        </p:txBody>
      </p:sp>
      <p:sp>
        <p:nvSpPr>
          <p:cNvPr id="10" name="Rectangle: Rounded Corners 9">
            <a:extLst>
              <a:ext uri="{FF2B5EF4-FFF2-40B4-BE49-F238E27FC236}">
                <a16:creationId xmlns:a16="http://schemas.microsoft.com/office/drawing/2014/main" xmlns="" id="{B2C78638-434E-4E74-BBAC-E619F23B6845}"/>
              </a:ext>
            </a:extLst>
          </p:cNvPr>
          <p:cNvSpPr/>
          <p:nvPr/>
        </p:nvSpPr>
        <p:spPr>
          <a:xfrm>
            <a:off x="412638" y="2314170"/>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Enterprise risk management</a:t>
            </a:r>
          </a:p>
        </p:txBody>
      </p:sp>
      <p:sp>
        <p:nvSpPr>
          <p:cNvPr id="11" name="Rectangle: Rounded Corners 10">
            <a:extLst>
              <a:ext uri="{FF2B5EF4-FFF2-40B4-BE49-F238E27FC236}">
                <a16:creationId xmlns:a16="http://schemas.microsoft.com/office/drawing/2014/main" xmlns="" id="{0EB8A050-FF77-4062-B15D-2F27DACFAE78}"/>
              </a:ext>
            </a:extLst>
          </p:cNvPr>
          <p:cNvSpPr/>
          <p:nvPr/>
        </p:nvSpPr>
        <p:spPr>
          <a:xfrm>
            <a:off x="412638" y="2789599"/>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Network graph analytics</a:t>
            </a:r>
          </a:p>
        </p:txBody>
      </p:sp>
      <p:sp>
        <p:nvSpPr>
          <p:cNvPr id="12" name="Rectangle: Rounded Corners 11">
            <a:extLst>
              <a:ext uri="{FF2B5EF4-FFF2-40B4-BE49-F238E27FC236}">
                <a16:creationId xmlns:a16="http://schemas.microsoft.com/office/drawing/2014/main" xmlns="" id="{F82E7064-5754-4D4D-9F17-FB88BB21A745}"/>
              </a:ext>
            </a:extLst>
          </p:cNvPr>
          <p:cNvSpPr/>
          <p:nvPr/>
        </p:nvSpPr>
        <p:spPr>
          <a:xfrm>
            <a:off x="412638" y="3265028"/>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NLP &amp; semantic engineering</a:t>
            </a:r>
          </a:p>
        </p:txBody>
      </p:sp>
      <p:sp>
        <p:nvSpPr>
          <p:cNvPr id="13" name="Rectangle: Rounded Corners 12">
            <a:extLst>
              <a:ext uri="{FF2B5EF4-FFF2-40B4-BE49-F238E27FC236}">
                <a16:creationId xmlns:a16="http://schemas.microsoft.com/office/drawing/2014/main" xmlns="" id="{A7D040D8-316B-4494-B787-AA30C56209E8}"/>
              </a:ext>
            </a:extLst>
          </p:cNvPr>
          <p:cNvSpPr/>
          <p:nvPr/>
        </p:nvSpPr>
        <p:spPr>
          <a:xfrm>
            <a:off x="412638" y="3740457"/>
            <a:ext cx="3131287" cy="354237"/>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Forecasting / time-series analysis</a:t>
            </a:r>
          </a:p>
        </p:txBody>
      </p:sp>
      <p:sp>
        <p:nvSpPr>
          <p:cNvPr id="14" name="Rectangle: Rounded Corners 13">
            <a:extLst>
              <a:ext uri="{FF2B5EF4-FFF2-40B4-BE49-F238E27FC236}">
                <a16:creationId xmlns:a16="http://schemas.microsoft.com/office/drawing/2014/main" xmlns="" id="{5F72DF14-D759-402F-855E-579E98277F52}"/>
              </a:ext>
            </a:extLst>
          </p:cNvPr>
          <p:cNvSpPr/>
          <p:nvPr/>
        </p:nvSpPr>
        <p:spPr>
          <a:xfrm>
            <a:off x="412638" y="4215889"/>
            <a:ext cx="3131287" cy="35423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Computer vision / deep learning</a:t>
            </a:r>
          </a:p>
        </p:txBody>
      </p:sp>
      <p:sp>
        <p:nvSpPr>
          <p:cNvPr id="15" name="Speech Bubble: Rectangle with Corners Rounded 14">
            <a:extLst>
              <a:ext uri="{FF2B5EF4-FFF2-40B4-BE49-F238E27FC236}">
                <a16:creationId xmlns:a16="http://schemas.microsoft.com/office/drawing/2014/main" xmlns="" id="{899848FA-5BDD-4603-804C-B9058530BE38}"/>
              </a:ext>
            </a:extLst>
          </p:cNvPr>
          <p:cNvSpPr/>
          <p:nvPr/>
        </p:nvSpPr>
        <p:spPr>
          <a:xfrm>
            <a:off x="4375990" y="3715180"/>
            <a:ext cx="4569815" cy="991953"/>
          </a:xfrm>
          <a:prstGeom prst="wedgeRoundRectCallout">
            <a:avLst>
              <a:gd name="adj1" fmla="val -68247"/>
              <a:gd name="adj2" fmla="val 17057"/>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latin typeface="Arial" panose="020B0604020202020204" pitchFamily="34" charset="0"/>
                <a:cs typeface="Arial" panose="020B0604020202020204" pitchFamily="34" charset="0"/>
              </a:rPr>
              <a:t>QUOTE</a:t>
            </a:r>
            <a:r>
              <a:rPr lang="en-US" sz="1400" dirty="0">
                <a:solidFill>
                  <a:schemeClr val="tx1"/>
                </a:solidFill>
                <a:latin typeface="Arial" panose="020B0604020202020204" pitchFamily="34" charset="0"/>
                <a:cs typeface="Arial" panose="020B0604020202020204" pitchFamily="34" charset="0"/>
              </a:rPr>
              <a:t>: “Still a work in progress, and one does need to step over the hype, but there are some early indications that deep learning can be quite efficacious if one is handling immense amounts of labeled data.”</a:t>
            </a:r>
          </a:p>
        </p:txBody>
      </p:sp>
      <p:sp>
        <p:nvSpPr>
          <p:cNvPr id="16" name="Speech Bubble: Rectangle with Corners Rounded 15">
            <a:extLst>
              <a:ext uri="{FF2B5EF4-FFF2-40B4-BE49-F238E27FC236}">
                <a16:creationId xmlns:a16="http://schemas.microsoft.com/office/drawing/2014/main" xmlns="" id="{7FFDFC8A-1A6F-4573-8661-DBF8117CB050}"/>
              </a:ext>
            </a:extLst>
          </p:cNvPr>
          <p:cNvSpPr/>
          <p:nvPr/>
        </p:nvSpPr>
        <p:spPr>
          <a:xfrm>
            <a:off x="4063857" y="723116"/>
            <a:ext cx="4363938" cy="759175"/>
          </a:xfrm>
          <a:prstGeom prst="wedgeRoundRectCallout">
            <a:avLst>
              <a:gd name="adj1" fmla="val -61551"/>
              <a:gd name="adj2" fmla="val 56747"/>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chemeClr val="tx1"/>
                </a:solidFill>
                <a:latin typeface="Arial" panose="020B0604020202020204" pitchFamily="34" charset="0"/>
                <a:cs typeface="Arial" panose="020B0604020202020204" pitchFamily="34" charset="0"/>
              </a:rPr>
              <a:t>QUOTE</a:t>
            </a:r>
            <a:r>
              <a:rPr lang="en-US" sz="1400" dirty="0">
                <a:solidFill>
                  <a:schemeClr val="tx1"/>
                </a:solidFill>
                <a:latin typeface="Arial" panose="020B0604020202020204" pitchFamily="34" charset="0"/>
                <a:cs typeface="Arial" panose="020B0604020202020204" pitchFamily="34" charset="0"/>
              </a:rPr>
              <a:t>:  “It is al</a:t>
            </a:r>
            <a:r>
              <a:rPr lang="en-US" sz="1400" dirty="0">
                <a:latin typeface="Arial" panose="020B0604020202020204" pitchFamily="34" charset="0"/>
                <a:cs typeface="Arial" panose="020B0604020202020204" pitchFamily="34" charset="0"/>
              </a:rPr>
              <a:t>most a crime how little we learn from the fraud domain being as they have been at it for almost a century.”</a:t>
            </a:r>
          </a:p>
        </p:txBody>
      </p:sp>
      <p:sp>
        <p:nvSpPr>
          <p:cNvPr id="17" name="Speech Bubble: Rectangle with Corners Rounded 16">
            <a:extLst>
              <a:ext uri="{FF2B5EF4-FFF2-40B4-BE49-F238E27FC236}">
                <a16:creationId xmlns:a16="http://schemas.microsoft.com/office/drawing/2014/main" xmlns="" id="{CFE227C4-98BB-4137-8740-25F76D3F2D72}"/>
              </a:ext>
            </a:extLst>
          </p:cNvPr>
          <p:cNvSpPr/>
          <p:nvPr/>
        </p:nvSpPr>
        <p:spPr>
          <a:xfrm>
            <a:off x="4292725" y="1644118"/>
            <a:ext cx="4569815" cy="839155"/>
          </a:xfrm>
          <a:prstGeom prst="wedgeRoundRectCallout">
            <a:avLst>
              <a:gd name="adj1" fmla="val -66131"/>
              <a:gd name="adj2" fmla="val -4726"/>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latin typeface="Arial" panose="020B0604020202020204" pitchFamily="34" charset="0"/>
                <a:cs typeface="Arial" panose="020B0604020202020204" pitchFamily="34" charset="0"/>
              </a:rPr>
              <a:t>QUOTE</a:t>
            </a:r>
            <a:r>
              <a:rPr lang="en-US" sz="1400" dirty="0">
                <a:solidFill>
                  <a:schemeClr val="tx1"/>
                </a:solidFill>
                <a:latin typeface="Arial" panose="020B0604020202020204" pitchFamily="34" charset="0"/>
                <a:cs typeface="Arial" panose="020B0604020202020204" pitchFamily="34" charset="0"/>
              </a:rPr>
              <a:t>:  “As networks and devices become increasingly complex and intertwined, they begin to resemble organic systems and act in biological ways.”</a:t>
            </a:r>
          </a:p>
        </p:txBody>
      </p:sp>
      <p:sp>
        <p:nvSpPr>
          <p:cNvPr id="18" name="Speech Bubble: Rectangle with Corners Rounded 17">
            <a:extLst>
              <a:ext uri="{FF2B5EF4-FFF2-40B4-BE49-F238E27FC236}">
                <a16:creationId xmlns:a16="http://schemas.microsoft.com/office/drawing/2014/main" xmlns="" id="{9FCF368A-7FA2-48D8-9D00-FCDDE2E9918F}"/>
              </a:ext>
            </a:extLst>
          </p:cNvPr>
          <p:cNvSpPr/>
          <p:nvPr/>
        </p:nvSpPr>
        <p:spPr>
          <a:xfrm>
            <a:off x="5505550" y="2660228"/>
            <a:ext cx="3440255" cy="877997"/>
          </a:xfrm>
          <a:prstGeom prst="wedgeRoundRectCallout">
            <a:avLst>
              <a:gd name="adj1" fmla="val -106373"/>
              <a:gd name="adj2" fmla="val -69215"/>
              <a:gd name="adj3" fmla="val 16667"/>
            </a:avLst>
          </a:prstGeom>
          <a:solidFill>
            <a:srgbClr val="CCFFCC"/>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latin typeface="Arial" panose="020B0604020202020204" pitchFamily="34" charset="0"/>
                <a:cs typeface="Arial" panose="020B0604020202020204" pitchFamily="34" charset="0"/>
              </a:rPr>
              <a:t>QUOTE</a:t>
            </a:r>
            <a:r>
              <a:rPr lang="en-US" sz="1400" dirty="0">
                <a:solidFill>
                  <a:schemeClr val="tx1"/>
                </a:solidFill>
                <a:latin typeface="Arial" panose="020B0604020202020204" pitchFamily="34" charset="0"/>
                <a:cs typeface="Arial" panose="020B0604020202020204" pitchFamily="34" charset="0"/>
              </a:rPr>
              <a:t>: “Whereas cybersecurity seeks to safeguard, it isn’t going to get very far without quantifying risks and impacts.” </a:t>
            </a:r>
          </a:p>
        </p:txBody>
      </p:sp>
    </p:spTree>
    <p:extLst>
      <p:ext uri="{BB962C8B-B14F-4D97-AF65-F5344CB8AC3E}">
        <p14:creationId xmlns:p14="http://schemas.microsoft.com/office/powerpoint/2010/main" val="1670580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823732"/>
            <a:ext cx="9144000" cy="1200329"/>
          </a:xfrm>
        </p:spPr>
        <p:txBody>
          <a:bodyPr/>
          <a:lstStyle/>
          <a:p>
            <a:r>
              <a:rPr lang="en-US" sz="4400" b="1" dirty="0"/>
              <a:t>CHALLENGES</a:t>
            </a:r>
            <a:br>
              <a:rPr lang="en-US" sz="4400" b="1" dirty="0"/>
            </a:br>
            <a:r>
              <a:rPr lang="en-US" sz="2800" dirty="0"/>
              <a:t>Perceived CSDS Gaps</a:t>
            </a:r>
            <a:endParaRPr lang="en-US" sz="2400" dirty="0"/>
          </a:p>
        </p:txBody>
      </p:sp>
    </p:spTree>
    <p:extLst>
      <p:ext uri="{BB962C8B-B14F-4D97-AF65-F5344CB8AC3E}">
        <p14:creationId xmlns:p14="http://schemas.microsoft.com/office/powerpoint/2010/main" val="37641563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468E44-F547-453E-ABCE-140E1C5D066C}"/>
              </a:ext>
            </a:extLst>
          </p:cNvPr>
          <p:cNvSpPr>
            <a:spLocks noGrp="1"/>
          </p:cNvSpPr>
          <p:nvPr>
            <p:ph type="title"/>
          </p:nvPr>
        </p:nvSpPr>
        <p:spPr>
          <a:xfrm>
            <a:off x="5752734" y="53577"/>
            <a:ext cx="3324540" cy="1678105"/>
          </a:xfrm>
        </p:spPr>
        <p:txBody>
          <a:bodyPr/>
          <a:lstStyle/>
          <a:p>
            <a:r>
              <a:rPr lang="en-US" sz="3200" b="1" u="sng" dirty="0">
                <a:latin typeface="Arial" panose="020B0604020202020204" pitchFamily="34" charset="0"/>
                <a:cs typeface="Arial" panose="020B0604020202020204" pitchFamily="34" charset="0"/>
              </a:rPr>
              <a:t>Challenges</a:t>
            </a:r>
            <a:r>
              <a:rPr lang="en-US" sz="3200" b="1" dirty="0">
                <a:latin typeface="Arial" panose="020B0604020202020204" pitchFamily="34" charset="0"/>
                <a:cs typeface="Arial" panose="020B0604020202020204" pitchFamily="34" charset="0"/>
              </a:rPr>
              <a:t>: </a:t>
            </a:r>
            <a:br>
              <a:rPr lang="en-US" sz="3200" b="1" dirty="0">
                <a:latin typeface="Arial" panose="020B0604020202020204" pitchFamily="34" charset="0"/>
                <a:cs typeface="Arial" panose="020B0604020202020204" pitchFamily="34" charset="0"/>
              </a:rPr>
            </a:br>
            <a:r>
              <a:rPr lang="en-US" sz="3200" b="1" dirty="0">
                <a:latin typeface="Arial" panose="020B0604020202020204" pitchFamily="34" charset="0"/>
                <a:cs typeface="Arial" panose="020B0604020202020204" pitchFamily="34" charset="0"/>
              </a:rPr>
              <a:t>12 Topics</a:t>
            </a:r>
          </a:p>
        </p:txBody>
      </p:sp>
      <p:sp>
        <p:nvSpPr>
          <p:cNvPr id="34" name="Rectangle: Rounded Corners 33">
            <a:extLst>
              <a:ext uri="{FF2B5EF4-FFF2-40B4-BE49-F238E27FC236}">
                <a16:creationId xmlns:a16="http://schemas.microsoft.com/office/drawing/2014/main" xmlns="" id="{EDC6957A-5104-49B2-8079-AB2F96CFB472}"/>
              </a:ext>
            </a:extLst>
          </p:cNvPr>
          <p:cNvSpPr/>
          <p:nvPr/>
        </p:nvSpPr>
        <p:spPr>
          <a:xfrm>
            <a:off x="373029" y="473142"/>
            <a:ext cx="1640099" cy="491476"/>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accent3"/>
                </a:solidFill>
                <a:latin typeface="Arial" panose="020B0604020202020204" pitchFamily="34" charset="0"/>
                <a:cs typeface="Arial" panose="020B0604020202020204" pitchFamily="34" charset="0"/>
              </a:rPr>
              <a:t>Confusion</a:t>
            </a:r>
          </a:p>
        </p:txBody>
      </p:sp>
      <p:sp>
        <p:nvSpPr>
          <p:cNvPr id="35" name="Rectangle: Rounded Corners 34">
            <a:extLst>
              <a:ext uri="{FF2B5EF4-FFF2-40B4-BE49-F238E27FC236}">
                <a16:creationId xmlns:a16="http://schemas.microsoft.com/office/drawing/2014/main" xmlns="" id="{DCA0C2D2-8665-4C64-A357-1E5516F1CBD3}"/>
              </a:ext>
            </a:extLst>
          </p:cNvPr>
          <p:cNvSpPr/>
          <p:nvPr/>
        </p:nvSpPr>
        <p:spPr>
          <a:xfrm>
            <a:off x="364150" y="53577"/>
            <a:ext cx="2571555" cy="338169"/>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latin typeface="Arial" panose="020B0604020202020204" pitchFamily="34" charset="0"/>
                <a:cs typeface="Arial" panose="020B0604020202020204" pitchFamily="34" charset="0"/>
              </a:rPr>
              <a:t>ORGANIZATION</a:t>
            </a:r>
            <a:endParaRPr lang="en-US" sz="1600" b="1" dirty="0">
              <a:solidFill>
                <a:schemeClr val="tx1"/>
              </a:solidFill>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xmlns="" id="{8E751A76-249C-430F-8B13-57690404192B}"/>
              </a:ext>
            </a:extLst>
          </p:cNvPr>
          <p:cNvSpPr/>
          <p:nvPr/>
        </p:nvSpPr>
        <p:spPr>
          <a:xfrm>
            <a:off x="371963" y="1035005"/>
            <a:ext cx="1640099" cy="49147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3"/>
                </a:solidFill>
                <a:latin typeface="Arial" panose="020B0604020202020204" pitchFamily="34" charset="0"/>
                <a:cs typeface="Arial" panose="020B0604020202020204" pitchFamily="34" charset="0"/>
              </a:rPr>
              <a:t>Regulatory uncertainty</a:t>
            </a:r>
          </a:p>
        </p:txBody>
      </p:sp>
      <p:sp>
        <p:nvSpPr>
          <p:cNvPr id="37" name="Rectangle: Rounded Corners 36">
            <a:extLst>
              <a:ext uri="{FF2B5EF4-FFF2-40B4-BE49-F238E27FC236}">
                <a16:creationId xmlns:a16="http://schemas.microsoft.com/office/drawing/2014/main" xmlns="" id="{6623ACC6-F996-4C52-A87F-3D057F5C6D0C}"/>
              </a:ext>
            </a:extLst>
          </p:cNvPr>
          <p:cNvSpPr/>
          <p:nvPr/>
        </p:nvSpPr>
        <p:spPr>
          <a:xfrm>
            <a:off x="2004248" y="2091859"/>
            <a:ext cx="2254633" cy="491474"/>
          </a:xfrm>
          <a:prstGeom prst="roundRect">
            <a:avLst/>
          </a:prstGeom>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accent3"/>
                </a:solidFill>
                <a:latin typeface="Arial" panose="020B0604020202020204" pitchFamily="34" charset="0"/>
                <a:cs typeface="Arial" panose="020B0604020202020204" pitchFamily="34" charset="0"/>
              </a:rPr>
              <a:t>Inherent costs</a:t>
            </a:r>
          </a:p>
        </p:txBody>
      </p:sp>
      <p:sp>
        <p:nvSpPr>
          <p:cNvPr id="38" name="Rectangle: Rounded Corners 37">
            <a:extLst>
              <a:ext uri="{FF2B5EF4-FFF2-40B4-BE49-F238E27FC236}">
                <a16:creationId xmlns:a16="http://schemas.microsoft.com/office/drawing/2014/main" xmlns="" id="{049FC36E-4E78-435F-98CE-2F7546E199C4}"/>
              </a:ext>
            </a:extLst>
          </p:cNvPr>
          <p:cNvSpPr/>
          <p:nvPr/>
        </p:nvSpPr>
        <p:spPr>
          <a:xfrm>
            <a:off x="2204732" y="471539"/>
            <a:ext cx="2104261" cy="49147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accent3"/>
                </a:solidFill>
                <a:latin typeface="Arial" panose="020B0604020202020204" pitchFamily="34" charset="0"/>
                <a:cs typeface="Arial" panose="020B0604020202020204" pitchFamily="34" charset="0"/>
              </a:rPr>
              <a:t>Marketing hype</a:t>
            </a:r>
          </a:p>
        </p:txBody>
      </p:sp>
      <p:sp>
        <p:nvSpPr>
          <p:cNvPr id="42" name="Rectangle: Rounded Corners 41">
            <a:extLst>
              <a:ext uri="{FF2B5EF4-FFF2-40B4-BE49-F238E27FC236}">
                <a16:creationId xmlns:a16="http://schemas.microsoft.com/office/drawing/2014/main" xmlns="" id="{970B7BBB-C190-43C0-B186-51F16FA59C8E}"/>
              </a:ext>
            </a:extLst>
          </p:cNvPr>
          <p:cNvSpPr/>
          <p:nvPr/>
        </p:nvSpPr>
        <p:spPr>
          <a:xfrm>
            <a:off x="4404003" y="3366203"/>
            <a:ext cx="2116260" cy="277448"/>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latin typeface="Arial" panose="020B0604020202020204" pitchFamily="34" charset="0"/>
                <a:cs typeface="Arial" panose="020B0604020202020204" pitchFamily="34" charset="0"/>
              </a:rPr>
              <a:t>TECHNOLOGY</a:t>
            </a:r>
            <a:endParaRPr lang="en-US" sz="1600" b="1" dirty="0">
              <a:solidFill>
                <a:schemeClr val="tx1"/>
              </a:solidFill>
              <a:latin typeface="Arial" panose="020B0604020202020204" pitchFamily="34" charset="0"/>
              <a:cs typeface="Arial" panose="020B0604020202020204" pitchFamily="34" charset="0"/>
            </a:endParaRPr>
          </a:p>
        </p:txBody>
      </p:sp>
      <p:sp>
        <p:nvSpPr>
          <p:cNvPr id="46" name="Rectangle: Rounded Corners 45">
            <a:extLst>
              <a:ext uri="{FF2B5EF4-FFF2-40B4-BE49-F238E27FC236}">
                <a16:creationId xmlns:a16="http://schemas.microsoft.com/office/drawing/2014/main" xmlns="" id="{6021C2B7-8171-4276-A26B-ECD9943C3B3B}"/>
              </a:ext>
            </a:extLst>
          </p:cNvPr>
          <p:cNvSpPr/>
          <p:nvPr/>
        </p:nvSpPr>
        <p:spPr>
          <a:xfrm>
            <a:off x="2013130" y="1735018"/>
            <a:ext cx="2245751" cy="274965"/>
          </a:xfrm>
          <a:prstGeom prst="roundRect">
            <a:avLst/>
          </a:prstGeom>
          <a:solidFill>
            <a:srgbClr val="FFFFCC"/>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latin typeface="Arial" panose="020B0604020202020204" pitchFamily="34" charset="0"/>
                <a:cs typeface="Arial" panose="020B0604020202020204" pitchFamily="34" charset="0"/>
              </a:rPr>
              <a:t>PROCESS</a:t>
            </a:r>
          </a:p>
        </p:txBody>
      </p:sp>
      <p:sp>
        <p:nvSpPr>
          <p:cNvPr id="33" name="Rectangle: Rounded Corners 32">
            <a:extLst>
              <a:ext uri="{FF2B5EF4-FFF2-40B4-BE49-F238E27FC236}">
                <a16:creationId xmlns:a16="http://schemas.microsoft.com/office/drawing/2014/main" xmlns="" id="{F761668E-B59D-4728-906D-572A28136B84}"/>
              </a:ext>
            </a:extLst>
          </p:cNvPr>
          <p:cNvSpPr/>
          <p:nvPr/>
        </p:nvSpPr>
        <p:spPr>
          <a:xfrm>
            <a:off x="4408835" y="2091859"/>
            <a:ext cx="2596163" cy="523472"/>
          </a:xfrm>
          <a:prstGeom prst="roundRect">
            <a:avLst/>
          </a:prstGeom>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accent3"/>
                </a:solidFill>
                <a:latin typeface="Arial" panose="020B0604020202020204" pitchFamily="34" charset="0"/>
                <a:cs typeface="Arial" panose="020B0604020202020204" pitchFamily="34" charset="0"/>
              </a:rPr>
              <a:t>Decision uncertainty</a:t>
            </a:r>
          </a:p>
        </p:txBody>
      </p:sp>
      <p:sp>
        <p:nvSpPr>
          <p:cNvPr id="52" name="Rectangle: Rounded Corners 51">
            <a:extLst>
              <a:ext uri="{FF2B5EF4-FFF2-40B4-BE49-F238E27FC236}">
                <a16:creationId xmlns:a16="http://schemas.microsoft.com/office/drawing/2014/main" xmlns="" id="{66B67522-9997-4DAF-AFD8-F4CCB69D20E7}"/>
              </a:ext>
            </a:extLst>
          </p:cNvPr>
          <p:cNvSpPr/>
          <p:nvPr/>
        </p:nvSpPr>
        <p:spPr>
          <a:xfrm>
            <a:off x="4417714" y="2707699"/>
            <a:ext cx="2596162" cy="491474"/>
          </a:xfrm>
          <a:prstGeom prst="roundRect">
            <a:avLst/>
          </a:prstGeom>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accent3"/>
                </a:solidFill>
                <a:latin typeface="Arial" panose="020B0604020202020204" pitchFamily="34" charset="0"/>
                <a:cs typeface="Arial" panose="020B0604020202020204" pitchFamily="34" charset="0"/>
              </a:rPr>
              <a:t>Scientific process?</a:t>
            </a:r>
          </a:p>
        </p:txBody>
      </p:sp>
      <p:sp>
        <p:nvSpPr>
          <p:cNvPr id="53" name="Rectangle: Rounded Corners 52">
            <a:extLst>
              <a:ext uri="{FF2B5EF4-FFF2-40B4-BE49-F238E27FC236}">
                <a16:creationId xmlns:a16="http://schemas.microsoft.com/office/drawing/2014/main" xmlns="" id="{0269C8B8-F78B-4F24-9848-603523F860E2}"/>
              </a:ext>
            </a:extLst>
          </p:cNvPr>
          <p:cNvSpPr/>
          <p:nvPr/>
        </p:nvSpPr>
        <p:spPr>
          <a:xfrm>
            <a:off x="2004247" y="2693591"/>
            <a:ext cx="2254634" cy="491474"/>
          </a:xfrm>
          <a:prstGeom prst="roundRect">
            <a:avLst/>
          </a:prstGeom>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b="1" dirty="0">
                <a:solidFill>
                  <a:schemeClr val="accent3"/>
                </a:solidFill>
                <a:latin typeface="Arial" panose="020B0604020202020204" pitchFamily="34" charset="0"/>
                <a:cs typeface="Arial" panose="020B0604020202020204" pitchFamily="34" charset="0"/>
              </a:rPr>
              <a:t>False alerts volume</a:t>
            </a:r>
          </a:p>
        </p:txBody>
      </p:sp>
      <p:sp>
        <p:nvSpPr>
          <p:cNvPr id="54" name="Rectangle: Rounded Corners 53">
            <a:extLst>
              <a:ext uri="{FF2B5EF4-FFF2-40B4-BE49-F238E27FC236}">
                <a16:creationId xmlns:a16="http://schemas.microsoft.com/office/drawing/2014/main" xmlns="" id="{97636539-01EC-4F34-81A0-B29E743BC9B1}"/>
              </a:ext>
            </a:extLst>
          </p:cNvPr>
          <p:cNvSpPr/>
          <p:nvPr/>
        </p:nvSpPr>
        <p:spPr>
          <a:xfrm>
            <a:off x="4404003" y="3711865"/>
            <a:ext cx="2133772" cy="603801"/>
          </a:xfrm>
          <a:prstGeom prst="roundRect">
            <a:avLst/>
          </a:prstGeom>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3"/>
                </a:solidFill>
                <a:latin typeface="Arial" panose="020B0604020202020204" pitchFamily="34" charset="0"/>
                <a:cs typeface="Arial" panose="020B0604020202020204" pitchFamily="34" charset="0"/>
              </a:rPr>
              <a:t>Data preparation / quality</a:t>
            </a:r>
          </a:p>
        </p:txBody>
      </p:sp>
      <p:sp>
        <p:nvSpPr>
          <p:cNvPr id="55" name="Rectangle: Rounded Corners 54">
            <a:extLst>
              <a:ext uri="{FF2B5EF4-FFF2-40B4-BE49-F238E27FC236}">
                <a16:creationId xmlns:a16="http://schemas.microsoft.com/office/drawing/2014/main" xmlns="" id="{D975A258-38F8-4C39-A202-27658F622A79}"/>
              </a:ext>
            </a:extLst>
          </p:cNvPr>
          <p:cNvSpPr/>
          <p:nvPr/>
        </p:nvSpPr>
        <p:spPr>
          <a:xfrm>
            <a:off x="4408835" y="4405137"/>
            <a:ext cx="2111428" cy="604741"/>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3"/>
                </a:solidFill>
                <a:latin typeface="Arial" panose="020B0604020202020204" pitchFamily="34" charset="0"/>
                <a:cs typeface="Arial" panose="020B0604020202020204" pitchFamily="34" charset="0"/>
              </a:rPr>
              <a:t>Normal vs. anomalous?</a:t>
            </a:r>
          </a:p>
        </p:txBody>
      </p:sp>
      <p:sp>
        <p:nvSpPr>
          <p:cNvPr id="56" name="Rectangle: Rounded Corners 55">
            <a:extLst>
              <a:ext uri="{FF2B5EF4-FFF2-40B4-BE49-F238E27FC236}">
                <a16:creationId xmlns:a16="http://schemas.microsoft.com/office/drawing/2014/main" xmlns="" id="{5F8F8BEE-BAF9-445F-BE26-FC8569691EFF}"/>
              </a:ext>
            </a:extLst>
          </p:cNvPr>
          <p:cNvSpPr/>
          <p:nvPr/>
        </p:nvSpPr>
        <p:spPr>
          <a:xfrm>
            <a:off x="6735055" y="3716727"/>
            <a:ext cx="2111428" cy="604742"/>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3"/>
                </a:solidFill>
                <a:latin typeface="Arial" panose="020B0604020202020204" pitchFamily="34" charset="0"/>
                <a:cs typeface="Arial" panose="020B0604020202020204" pitchFamily="34" charset="0"/>
              </a:rPr>
              <a:t>Own infrastructure &amp; shadow IT?</a:t>
            </a:r>
          </a:p>
        </p:txBody>
      </p:sp>
      <p:sp>
        <p:nvSpPr>
          <p:cNvPr id="57" name="Rectangle: Rounded Corners 56">
            <a:extLst>
              <a:ext uri="{FF2B5EF4-FFF2-40B4-BE49-F238E27FC236}">
                <a16:creationId xmlns:a16="http://schemas.microsoft.com/office/drawing/2014/main" xmlns="" id="{C7B67DBC-CFCF-4E5B-A691-626B7A9C82E4}"/>
              </a:ext>
            </a:extLst>
          </p:cNvPr>
          <p:cNvSpPr/>
          <p:nvPr/>
        </p:nvSpPr>
        <p:spPr>
          <a:xfrm>
            <a:off x="6735055" y="4405138"/>
            <a:ext cx="2111428" cy="604741"/>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3"/>
                </a:solidFill>
                <a:latin typeface="Arial" panose="020B0604020202020204" pitchFamily="34" charset="0"/>
                <a:cs typeface="Arial" panose="020B0604020202020204" pitchFamily="34" charset="0"/>
              </a:rPr>
              <a:t>Lack of labeled incidents</a:t>
            </a:r>
          </a:p>
        </p:txBody>
      </p:sp>
      <p:grpSp>
        <p:nvGrpSpPr>
          <p:cNvPr id="58" name="Group 57">
            <a:extLst>
              <a:ext uri="{FF2B5EF4-FFF2-40B4-BE49-F238E27FC236}">
                <a16:creationId xmlns:a16="http://schemas.microsoft.com/office/drawing/2014/main" xmlns="" id="{26751FBA-464C-43CF-8641-043BD270ABB0}"/>
              </a:ext>
            </a:extLst>
          </p:cNvPr>
          <p:cNvGrpSpPr/>
          <p:nvPr/>
        </p:nvGrpSpPr>
        <p:grpSpPr>
          <a:xfrm>
            <a:off x="4645943" y="380479"/>
            <a:ext cx="1178947" cy="1181383"/>
            <a:chOff x="1639605" y="815084"/>
            <a:chExt cx="988853" cy="1018162"/>
          </a:xfrm>
        </p:grpSpPr>
        <p:cxnSp>
          <p:nvCxnSpPr>
            <p:cNvPr id="59" name="Straight Connector 58">
              <a:extLst>
                <a:ext uri="{FF2B5EF4-FFF2-40B4-BE49-F238E27FC236}">
                  <a16:creationId xmlns:a16="http://schemas.microsoft.com/office/drawing/2014/main" xmlns="" id="{C466233E-05DC-4BFF-89B0-BFDC449B1B6D}"/>
                </a:ext>
              </a:extLst>
            </p:cNvPr>
            <p:cNvCxnSpPr>
              <a:stCxn id="73" idx="6"/>
              <a:endCxn id="71" idx="0"/>
            </p:cNvCxnSpPr>
            <p:nvPr/>
          </p:nvCxnSpPr>
          <p:spPr>
            <a:xfrm>
              <a:off x="1888814" y="1301217"/>
              <a:ext cx="247739"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xmlns="" id="{4FC5A4CF-B523-4840-9BE1-523BDD47A970}"/>
                </a:ext>
              </a:extLst>
            </p:cNvPr>
            <p:cNvCxnSpPr>
              <a:stCxn id="71" idx="0"/>
              <a:endCxn id="67" idx="2"/>
            </p:cNvCxnSpPr>
            <p:nvPr/>
          </p:nvCxnSpPr>
          <p:spPr>
            <a:xfrm flipV="1">
              <a:off x="2136553" y="1301217"/>
              <a:ext cx="242696"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xmlns="" id="{40F98E63-00CB-47B3-A059-20400BD19AAC}"/>
                </a:ext>
              </a:extLst>
            </p:cNvPr>
            <p:cNvCxnSpPr>
              <a:stCxn id="69" idx="4"/>
              <a:endCxn id="67" idx="2"/>
            </p:cNvCxnSpPr>
            <p:nvPr/>
          </p:nvCxnSpPr>
          <p:spPr>
            <a:xfrm>
              <a:off x="2144375" y="1064033"/>
              <a:ext cx="234874"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xmlns="" id="{A9629EAF-2F62-4CCC-86F5-27E760495272}"/>
                </a:ext>
              </a:extLst>
            </p:cNvPr>
            <p:cNvCxnSpPr>
              <a:stCxn id="69" idx="4"/>
              <a:endCxn id="73" idx="6"/>
            </p:cNvCxnSpPr>
            <p:nvPr/>
          </p:nvCxnSpPr>
          <p:spPr>
            <a:xfrm flipH="1">
              <a:off x="1888814" y="1064033"/>
              <a:ext cx="255561"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grpSp>
          <p:nvGrpSpPr>
            <p:cNvPr id="63" name="Group 62">
              <a:extLst>
                <a:ext uri="{FF2B5EF4-FFF2-40B4-BE49-F238E27FC236}">
                  <a16:creationId xmlns:a16="http://schemas.microsoft.com/office/drawing/2014/main" xmlns="" id="{10517FBE-56D2-43C6-BD4C-C5E5F7449DEB}"/>
                </a:ext>
              </a:extLst>
            </p:cNvPr>
            <p:cNvGrpSpPr/>
            <p:nvPr/>
          </p:nvGrpSpPr>
          <p:grpSpPr>
            <a:xfrm>
              <a:off x="1639605" y="1176742"/>
              <a:ext cx="249209" cy="248949"/>
              <a:chOff x="1639605" y="1176742"/>
              <a:chExt cx="249209" cy="248949"/>
            </a:xfrm>
          </p:grpSpPr>
          <p:sp>
            <p:nvSpPr>
              <p:cNvPr id="73" name="Oval 72">
                <a:extLst>
                  <a:ext uri="{FF2B5EF4-FFF2-40B4-BE49-F238E27FC236}">
                    <a16:creationId xmlns:a16="http://schemas.microsoft.com/office/drawing/2014/main" xmlns="" id="{8ABB9C54-175E-4089-ADB5-346A921FC0EA}"/>
                  </a:ext>
                </a:extLst>
              </p:cNvPr>
              <p:cNvSpPr>
                <a:spLocks noChangeAspect="1"/>
              </p:cNvSpPr>
              <p:nvPr/>
            </p:nvSpPr>
            <p:spPr>
              <a:xfrm>
                <a:off x="1639605"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74" name="Picture 73">
                <a:extLst>
                  <a:ext uri="{FF2B5EF4-FFF2-40B4-BE49-F238E27FC236}">
                    <a16:creationId xmlns:a16="http://schemas.microsoft.com/office/drawing/2014/main" xmlns="" id="{43D3894C-43A6-456D-BDC4-036A2E700E6B}"/>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688138" y="1188719"/>
                <a:ext cx="145792" cy="181615"/>
              </a:xfrm>
              <a:prstGeom prst="rect">
                <a:avLst/>
              </a:prstGeom>
            </p:spPr>
          </p:pic>
        </p:grpSp>
        <p:grpSp>
          <p:nvGrpSpPr>
            <p:cNvPr id="64" name="Group 63">
              <a:extLst>
                <a:ext uri="{FF2B5EF4-FFF2-40B4-BE49-F238E27FC236}">
                  <a16:creationId xmlns:a16="http://schemas.microsoft.com/office/drawing/2014/main" xmlns="" id="{7278E13E-4E5D-4CF3-8E7C-6DFE2F6B0ED3}"/>
                </a:ext>
              </a:extLst>
            </p:cNvPr>
            <p:cNvGrpSpPr/>
            <p:nvPr/>
          </p:nvGrpSpPr>
          <p:grpSpPr>
            <a:xfrm>
              <a:off x="2012290" y="1584979"/>
              <a:ext cx="248526" cy="248267"/>
              <a:chOff x="2012290" y="1584979"/>
              <a:chExt cx="248526" cy="248267"/>
            </a:xfrm>
          </p:grpSpPr>
          <p:sp>
            <p:nvSpPr>
              <p:cNvPr id="71" name="Oval 70">
                <a:extLst>
                  <a:ext uri="{FF2B5EF4-FFF2-40B4-BE49-F238E27FC236}">
                    <a16:creationId xmlns:a16="http://schemas.microsoft.com/office/drawing/2014/main" xmlns="" id="{358A0F49-2E0D-427F-9354-8293645587A9}"/>
                  </a:ext>
                </a:extLst>
              </p:cNvPr>
              <p:cNvSpPr>
                <a:spLocks noChangeAspect="1"/>
              </p:cNvSpPr>
              <p:nvPr/>
            </p:nvSpPr>
            <p:spPr>
              <a:xfrm>
                <a:off x="2012290" y="1584979"/>
                <a:ext cx="248526" cy="248267"/>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72" name="Picture 71">
                <a:extLst>
                  <a:ext uri="{FF2B5EF4-FFF2-40B4-BE49-F238E27FC236}">
                    <a16:creationId xmlns:a16="http://schemas.microsoft.com/office/drawing/2014/main" xmlns="" id="{2464C825-2916-426B-9207-577CE8765A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4343" y="1615321"/>
                <a:ext cx="143380" cy="181829"/>
              </a:xfrm>
              <a:prstGeom prst="rect">
                <a:avLst/>
              </a:prstGeom>
              <a:ln w="25400">
                <a:noFill/>
              </a:ln>
            </p:spPr>
          </p:pic>
        </p:grpSp>
        <p:grpSp>
          <p:nvGrpSpPr>
            <p:cNvPr id="65" name="Group 64">
              <a:extLst>
                <a:ext uri="{FF2B5EF4-FFF2-40B4-BE49-F238E27FC236}">
                  <a16:creationId xmlns:a16="http://schemas.microsoft.com/office/drawing/2014/main" xmlns="" id="{76573CF2-E015-4EA8-BDC2-2DE7AB82B1CE}"/>
                </a:ext>
              </a:extLst>
            </p:cNvPr>
            <p:cNvGrpSpPr/>
            <p:nvPr/>
          </p:nvGrpSpPr>
          <p:grpSpPr>
            <a:xfrm>
              <a:off x="2019770" y="815084"/>
              <a:ext cx="249209" cy="248949"/>
              <a:chOff x="2019770" y="815084"/>
              <a:chExt cx="249209" cy="248949"/>
            </a:xfrm>
          </p:grpSpPr>
          <p:sp>
            <p:nvSpPr>
              <p:cNvPr id="69" name="Oval 68">
                <a:extLst>
                  <a:ext uri="{FF2B5EF4-FFF2-40B4-BE49-F238E27FC236}">
                    <a16:creationId xmlns:a16="http://schemas.microsoft.com/office/drawing/2014/main" xmlns="" id="{31FFC459-21DE-443D-9132-AC3ABAED354D}"/>
                  </a:ext>
                </a:extLst>
              </p:cNvPr>
              <p:cNvSpPr>
                <a:spLocks noChangeAspect="1"/>
              </p:cNvSpPr>
              <p:nvPr/>
            </p:nvSpPr>
            <p:spPr>
              <a:xfrm>
                <a:off x="2019770" y="815084"/>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70" name="Picture 69">
                <a:extLst>
                  <a:ext uri="{FF2B5EF4-FFF2-40B4-BE49-F238E27FC236}">
                    <a16:creationId xmlns:a16="http://schemas.microsoft.com/office/drawing/2014/main" xmlns="" id="{FDEC5463-4F6E-4A6B-9EEC-0A478966F1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3200" y="824561"/>
                <a:ext cx="142348" cy="181535"/>
              </a:xfrm>
              <a:prstGeom prst="rect">
                <a:avLst/>
              </a:prstGeom>
            </p:spPr>
          </p:pic>
        </p:grpSp>
        <p:grpSp>
          <p:nvGrpSpPr>
            <p:cNvPr id="66" name="Group 65">
              <a:extLst>
                <a:ext uri="{FF2B5EF4-FFF2-40B4-BE49-F238E27FC236}">
                  <a16:creationId xmlns:a16="http://schemas.microsoft.com/office/drawing/2014/main" xmlns="" id="{7C30B63D-64A9-424B-8017-2262E858D856}"/>
                </a:ext>
              </a:extLst>
            </p:cNvPr>
            <p:cNvGrpSpPr/>
            <p:nvPr/>
          </p:nvGrpSpPr>
          <p:grpSpPr>
            <a:xfrm>
              <a:off x="2379249" y="1176742"/>
              <a:ext cx="249209" cy="248949"/>
              <a:chOff x="2379249" y="1176742"/>
              <a:chExt cx="249209" cy="248949"/>
            </a:xfrm>
          </p:grpSpPr>
          <p:sp>
            <p:nvSpPr>
              <p:cNvPr id="67" name="Oval 66">
                <a:extLst>
                  <a:ext uri="{FF2B5EF4-FFF2-40B4-BE49-F238E27FC236}">
                    <a16:creationId xmlns:a16="http://schemas.microsoft.com/office/drawing/2014/main" xmlns="" id="{2B56D1FC-F1FB-4469-9EAE-0A89371F1AC2}"/>
                  </a:ext>
                </a:extLst>
              </p:cNvPr>
              <p:cNvSpPr>
                <a:spLocks noChangeAspect="1"/>
              </p:cNvSpPr>
              <p:nvPr/>
            </p:nvSpPr>
            <p:spPr>
              <a:xfrm>
                <a:off x="2379249"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68" name="Picture 67">
                <a:extLst>
                  <a:ext uri="{FF2B5EF4-FFF2-40B4-BE49-F238E27FC236}">
                    <a16:creationId xmlns:a16="http://schemas.microsoft.com/office/drawing/2014/main" xmlns="" id="{384CD618-2B44-42C3-8B1C-008748EDC026}"/>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7092" y="1200632"/>
                <a:ext cx="153523" cy="201168"/>
              </a:xfrm>
              <a:prstGeom prst="rect">
                <a:avLst/>
              </a:prstGeom>
            </p:spPr>
          </p:pic>
        </p:grpSp>
      </p:grpSp>
      <p:grpSp>
        <p:nvGrpSpPr>
          <p:cNvPr id="75" name="Group 74">
            <a:extLst>
              <a:ext uri="{FF2B5EF4-FFF2-40B4-BE49-F238E27FC236}">
                <a16:creationId xmlns:a16="http://schemas.microsoft.com/office/drawing/2014/main" xmlns="" id="{E188DDC8-B178-4EF6-8BA3-3A56643DE817}"/>
              </a:ext>
            </a:extLst>
          </p:cNvPr>
          <p:cNvGrpSpPr/>
          <p:nvPr/>
        </p:nvGrpSpPr>
        <p:grpSpPr>
          <a:xfrm>
            <a:off x="460918" y="1765118"/>
            <a:ext cx="1289268" cy="1285763"/>
            <a:chOff x="6303438" y="1596966"/>
            <a:chExt cx="672459" cy="616841"/>
          </a:xfrm>
        </p:grpSpPr>
        <p:pic>
          <p:nvPicPr>
            <p:cNvPr id="76" name="Picture 75">
              <a:extLst>
                <a:ext uri="{FF2B5EF4-FFF2-40B4-BE49-F238E27FC236}">
                  <a16:creationId xmlns:a16="http://schemas.microsoft.com/office/drawing/2014/main" xmlns="" id="{DA98E4DC-A8B8-48DB-8F79-2BF2DE57EBCA}"/>
                </a:ext>
              </a:extLst>
            </p:cNvPr>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303438" y="1687153"/>
              <a:ext cx="437461" cy="416675"/>
            </a:xfrm>
            <a:prstGeom prst="rect">
              <a:avLst/>
            </a:prstGeom>
          </p:spPr>
        </p:pic>
        <p:pic>
          <p:nvPicPr>
            <p:cNvPr id="77" name="Picture 76">
              <a:extLst>
                <a:ext uri="{FF2B5EF4-FFF2-40B4-BE49-F238E27FC236}">
                  <a16:creationId xmlns:a16="http://schemas.microsoft.com/office/drawing/2014/main" xmlns="" id="{509E703B-6538-400D-A6E7-7C1DE01EF46D}"/>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654979" y="1926104"/>
              <a:ext cx="302057" cy="287703"/>
            </a:xfrm>
            <a:prstGeom prst="rect">
              <a:avLst/>
            </a:prstGeom>
          </p:spPr>
        </p:pic>
        <p:pic>
          <p:nvPicPr>
            <p:cNvPr id="78" name="Picture 77">
              <a:extLst>
                <a:ext uri="{FF2B5EF4-FFF2-40B4-BE49-F238E27FC236}">
                  <a16:creationId xmlns:a16="http://schemas.microsoft.com/office/drawing/2014/main" xmlns="" id="{F3104217-C8A9-46D3-86BE-90DCAB35E2C6}"/>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673840" y="1596966"/>
              <a:ext cx="302057" cy="287703"/>
            </a:xfrm>
            <a:prstGeom prst="rect">
              <a:avLst/>
            </a:prstGeom>
          </p:spPr>
        </p:pic>
      </p:grpSp>
      <p:pic>
        <p:nvPicPr>
          <p:cNvPr id="1026" name="Picture 2" descr="Afbeeldingsresultaat voor data icon">
            <a:extLst>
              <a:ext uri="{FF2B5EF4-FFF2-40B4-BE49-F238E27FC236}">
                <a16:creationId xmlns:a16="http://schemas.microsoft.com/office/drawing/2014/main" xmlns="" id="{0BAD5B93-4EA4-45B7-B5A4-D4CED009D1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9924" y="3583105"/>
            <a:ext cx="1328050" cy="1328050"/>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Rounded Corners 79">
            <a:extLst>
              <a:ext uri="{FF2B5EF4-FFF2-40B4-BE49-F238E27FC236}">
                <a16:creationId xmlns:a16="http://schemas.microsoft.com/office/drawing/2014/main" xmlns="" id="{18DDF504-A3B7-4CA0-8829-1C85A7683E5C}"/>
              </a:ext>
            </a:extLst>
          </p:cNvPr>
          <p:cNvSpPr/>
          <p:nvPr/>
        </p:nvSpPr>
        <p:spPr>
          <a:xfrm>
            <a:off x="2204732" y="1049382"/>
            <a:ext cx="2103251" cy="491474"/>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accent3"/>
                </a:solidFill>
                <a:latin typeface="Arial" panose="020B0604020202020204" pitchFamily="34" charset="0"/>
                <a:cs typeface="Arial" panose="020B0604020202020204" pitchFamily="34" charset="0"/>
              </a:rPr>
              <a:t>Few resources</a:t>
            </a:r>
          </a:p>
        </p:txBody>
      </p:sp>
    </p:spTree>
    <p:extLst>
      <p:ext uri="{BB962C8B-B14F-4D97-AF65-F5344CB8AC3E}">
        <p14:creationId xmlns:p14="http://schemas.microsoft.com/office/powerpoint/2010/main" val="2490210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0"/>
                                        </p:tgtEl>
                                        <p:attrNameLst>
                                          <p:attrName>style.visibility</p:attrName>
                                        </p:attrNameLst>
                                      </p:cBhvr>
                                      <p:to>
                                        <p:strVal val="visible"/>
                                      </p:to>
                                    </p:set>
                                    <p:animEffect transition="in" filter="fade">
                                      <p:cBhvr>
                                        <p:cTn id="20" dur="500"/>
                                        <p:tgtEl>
                                          <p:spTgt spid="8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5"/>
                                        </p:tgtEl>
                                        <p:attrNameLst>
                                          <p:attrName>style.visibility</p:attrName>
                                        </p:attrNameLst>
                                      </p:cBhvr>
                                      <p:to>
                                        <p:strVal val="visible"/>
                                      </p:to>
                                    </p:set>
                                    <p:animEffect transition="in" filter="fade">
                                      <p:cBhvr>
                                        <p:cTn id="28" dur="500"/>
                                        <p:tgtEl>
                                          <p:spTgt spid="7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fade">
                                      <p:cBhvr>
                                        <p:cTn id="41" dur="500"/>
                                        <p:tgtEl>
                                          <p:spTgt spid="5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3"/>
                                        </p:tgtEl>
                                        <p:attrNameLst>
                                          <p:attrName>style.visibility</p:attrName>
                                        </p:attrNameLst>
                                      </p:cBhvr>
                                      <p:to>
                                        <p:strVal val="visible"/>
                                      </p:to>
                                    </p:set>
                                    <p:animEffect transition="in" filter="fade">
                                      <p:cBhvr>
                                        <p:cTn id="44" dur="500"/>
                                        <p:tgtEl>
                                          <p:spTgt spid="5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26"/>
                                        </p:tgtEl>
                                        <p:attrNameLst>
                                          <p:attrName>style.visibility</p:attrName>
                                        </p:attrNameLst>
                                      </p:cBhvr>
                                      <p:to>
                                        <p:strVal val="visible"/>
                                      </p:to>
                                    </p:set>
                                    <p:animEffect transition="in" filter="fade">
                                      <p:cBhvr>
                                        <p:cTn id="49" dur="500"/>
                                        <p:tgtEl>
                                          <p:spTgt spid="1026"/>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6"/>
                                        </p:tgtEl>
                                        <p:attrNameLst>
                                          <p:attrName>style.visibility</p:attrName>
                                        </p:attrNameLst>
                                      </p:cBhvr>
                                      <p:to>
                                        <p:strVal val="visible"/>
                                      </p:to>
                                    </p:set>
                                    <p:animEffect transition="in" filter="fade">
                                      <p:cBhvr>
                                        <p:cTn id="62" dur="500"/>
                                        <p:tgtEl>
                                          <p:spTgt spid="5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P spid="42" grpId="0" animBg="1"/>
      <p:bldP spid="46" grpId="0" animBg="1"/>
      <p:bldP spid="33" grpId="0" animBg="1"/>
      <p:bldP spid="52" grpId="0" animBg="1"/>
      <p:bldP spid="53" grpId="0" animBg="1"/>
      <p:bldP spid="54" grpId="0" animBg="1"/>
      <p:bldP spid="55" grpId="0" animBg="1"/>
      <p:bldP spid="56" grpId="0" animBg="1"/>
      <p:bldP spid="57" grpId="0" animBg="1"/>
      <p:bldP spid="8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587861"/>
            <a:ext cx="9144000" cy="1754326"/>
          </a:xfrm>
        </p:spPr>
        <p:txBody>
          <a:bodyPr/>
          <a:lstStyle/>
          <a:p>
            <a:r>
              <a:rPr lang="en-US" sz="5400" b="1" dirty="0"/>
              <a:t>Research Motivation:</a:t>
            </a:r>
            <a:br>
              <a:rPr lang="en-US" sz="5400" b="1" dirty="0"/>
            </a:br>
            <a:r>
              <a:rPr lang="en-US" sz="5400" b="1" dirty="0"/>
              <a:t>Genesis in Six Memes</a:t>
            </a:r>
            <a:endParaRPr lang="en-US" b="1" dirty="0"/>
          </a:p>
        </p:txBody>
      </p:sp>
    </p:spTree>
    <p:extLst>
      <p:ext uri="{BB962C8B-B14F-4D97-AF65-F5344CB8AC3E}">
        <p14:creationId xmlns:p14="http://schemas.microsoft.com/office/powerpoint/2010/main" val="8325890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00F33E-9799-4E52-9A3A-B38F7FC1B50A}"/>
              </a:ext>
            </a:extLst>
          </p:cNvPr>
          <p:cNvSpPr>
            <a:spLocks noGrp="1"/>
          </p:cNvSpPr>
          <p:nvPr>
            <p:ph type="title"/>
          </p:nvPr>
        </p:nvSpPr>
        <p:spPr>
          <a:xfrm>
            <a:off x="154172" y="217816"/>
            <a:ext cx="8835655" cy="457200"/>
          </a:xfrm>
        </p:spPr>
        <p:txBody>
          <a:bodyPr/>
          <a:lstStyle/>
          <a:p>
            <a:r>
              <a:rPr lang="en-US" b="1" u="sng" dirty="0"/>
              <a:t>Challenges</a:t>
            </a:r>
            <a:r>
              <a:rPr lang="en-US" b="1" dirty="0"/>
              <a:t>:  12 Topics =&gt; 5 Themes*</a:t>
            </a:r>
          </a:p>
        </p:txBody>
      </p:sp>
      <p:sp>
        <p:nvSpPr>
          <p:cNvPr id="12" name="TextBox 11">
            <a:extLst>
              <a:ext uri="{FF2B5EF4-FFF2-40B4-BE49-F238E27FC236}">
                <a16:creationId xmlns:a16="http://schemas.microsoft.com/office/drawing/2014/main" xmlns="" id="{B0885867-4E44-4335-B66C-2A5321370AC4}"/>
              </a:ext>
            </a:extLst>
          </p:cNvPr>
          <p:cNvSpPr txBox="1"/>
          <p:nvPr/>
        </p:nvSpPr>
        <p:spPr>
          <a:xfrm>
            <a:off x="369517" y="1027593"/>
            <a:ext cx="8571149" cy="3593291"/>
          </a:xfrm>
          <a:prstGeom prst="rect">
            <a:avLst/>
          </a:prstGeom>
          <a:noFill/>
        </p:spPr>
        <p:txBody>
          <a:bodyPr wrap="square" rtlCol="0">
            <a:spAutoFit/>
          </a:bodyPr>
          <a:lstStyle/>
          <a:p>
            <a:pPr marL="342900" indent="-342900">
              <a:spcAft>
                <a:spcPts val="500"/>
              </a:spcAft>
              <a:buFont typeface="+mj-lt"/>
              <a:buAutoNum type="arabicPeriod"/>
            </a:pPr>
            <a:r>
              <a:rPr lang="en-US" b="1" dirty="0">
                <a:solidFill>
                  <a:srgbClr val="00517E"/>
                </a:solidFill>
                <a:latin typeface="Arial" panose="020B0604020202020204" pitchFamily="34" charset="0"/>
                <a:cs typeface="Arial" panose="020B0604020202020204" pitchFamily="34" charset="0"/>
              </a:rPr>
              <a:t>Leadership has ‘lost the plot’</a:t>
            </a:r>
          </a:p>
          <a:p>
            <a:pPr marL="800100" lvl="1" indent="-342900">
              <a:spcAft>
                <a:spcPts val="800"/>
              </a:spcAft>
              <a:buFont typeface="Arial" panose="020B0604020202020204" pitchFamily="34" charset="0"/>
              <a:buChar char="•"/>
            </a:pPr>
            <a:r>
              <a:rPr lang="en-US" dirty="0">
                <a:latin typeface="Arial" panose="020B0604020202020204" pitchFamily="34" charset="0"/>
                <a:cs typeface="Arial" panose="020B0604020202020204" pitchFamily="34" charset="0"/>
              </a:rPr>
              <a:t>Uncertainty: nature of threats, what is being protected, how to react</a:t>
            </a:r>
          </a:p>
          <a:p>
            <a:pPr marL="342900" indent="-342900">
              <a:spcAft>
                <a:spcPts val="500"/>
              </a:spcAft>
              <a:buFont typeface="+mj-lt"/>
              <a:buAutoNum type="arabicPeriod"/>
            </a:pPr>
            <a:r>
              <a:rPr lang="en-US" b="1" dirty="0">
                <a:solidFill>
                  <a:srgbClr val="00517E"/>
                </a:solidFill>
                <a:latin typeface="Arial" panose="020B0604020202020204" pitchFamily="34" charset="0"/>
                <a:cs typeface="Arial" panose="020B0604020202020204" pitchFamily="34" charset="0"/>
              </a:rPr>
              <a:t>Can’t do it all!</a:t>
            </a:r>
          </a:p>
          <a:p>
            <a:pPr marL="800100" lvl="1" indent="-342900">
              <a:spcAft>
                <a:spcPts val="800"/>
              </a:spcAft>
              <a:buFont typeface="Arial" panose="020B0604020202020204" pitchFamily="34" charset="0"/>
              <a:buChar char="•"/>
            </a:pPr>
            <a:r>
              <a:rPr lang="en-US" dirty="0">
                <a:latin typeface="Arial" panose="020B0604020202020204" pitchFamily="34" charset="0"/>
                <a:cs typeface="Arial" panose="020B0604020202020204" pitchFamily="34" charset="0"/>
              </a:rPr>
              <a:t>Expansive domain: not cost effective to cover everything in house</a:t>
            </a:r>
          </a:p>
          <a:p>
            <a:pPr marL="342900" indent="-342900">
              <a:spcAft>
                <a:spcPts val="500"/>
              </a:spcAft>
              <a:buFont typeface="+mj-lt"/>
              <a:buAutoNum type="arabicPeriod"/>
            </a:pPr>
            <a:r>
              <a:rPr lang="en-US" b="1" dirty="0">
                <a:solidFill>
                  <a:srgbClr val="00517E"/>
                </a:solidFill>
                <a:latin typeface="Arial" panose="020B0604020202020204" pitchFamily="34" charset="0"/>
                <a:cs typeface="Arial" panose="020B0604020202020204" pitchFamily="34" charset="0"/>
              </a:rPr>
              <a:t>Between a rock and a hard place…</a:t>
            </a:r>
          </a:p>
          <a:p>
            <a:pPr marL="800100" lvl="1" indent="-342900">
              <a:spcAft>
                <a:spcPts val="800"/>
              </a:spcAft>
              <a:buFont typeface="Arial" panose="020B0604020202020204" pitchFamily="34" charset="0"/>
              <a:buChar char="•"/>
            </a:pPr>
            <a:r>
              <a:rPr lang="en-US" dirty="0">
                <a:latin typeface="Arial" panose="020B0604020202020204" pitchFamily="34" charset="0"/>
                <a:cs typeface="Arial" panose="020B0604020202020204" pitchFamily="34" charset="0"/>
              </a:rPr>
              <a:t>Rules-based approaches failing, but alternate approaches overhyped</a:t>
            </a:r>
          </a:p>
          <a:p>
            <a:pPr marL="342900" indent="-342900">
              <a:spcAft>
                <a:spcPts val="500"/>
              </a:spcAft>
              <a:buFont typeface="+mj-lt"/>
              <a:buAutoNum type="arabicPeriod"/>
            </a:pPr>
            <a:r>
              <a:rPr lang="en-US" b="1" dirty="0">
                <a:solidFill>
                  <a:srgbClr val="00517E"/>
                </a:solidFill>
                <a:latin typeface="Arial" panose="020B0604020202020204" pitchFamily="34" charset="0"/>
                <a:cs typeface="Arial" panose="020B0604020202020204" pitchFamily="34" charset="0"/>
              </a:rPr>
              <a:t>Scientific contextualists</a:t>
            </a:r>
          </a:p>
          <a:p>
            <a:pPr marL="800100" lvl="1" indent="-342900">
              <a:spcAft>
                <a:spcPts val="800"/>
              </a:spcAft>
              <a:buFont typeface="Arial" panose="020B0604020202020204" pitchFamily="34" charset="0"/>
              <a:buChar char="•"/>
            </a:pPr>
            <a:r>
              <a:rPr lang="en-US" dirty="0">
                <a:latin typeface="Arial" panose="020B0604020202020204" pitchFamily="34" charset="0"/>
                <a:cs typeface="Arial" panose="020B0604020202020204" pitchFamily="34" charset="0"/>
              </a:rPr>
              <a:t>Need to improve </a:t>
            </a:r>
            <a:r>
              <a:rPr lang="en-US" i="1" dirty="0">
                <a:latin typeface="Arial" panose="020B0604020202020204" pitchFamily="34" charset="0"/>
                <a:cs typeface="Arial" panose="020B0604020202020204" pitchFamily="34" charset="0"/>
              </a:rPr>
              <a:t>representation of environment </a:t>
            </a:r>
            <a:r>
              <a:rPr lang="en-US" dirty="0">
                <a:latin typeface="Arial" panose="020B0604020202020204" pitchFamily="34" charset="0"/>
                <a:cs typeface="Arial" panose="020B0604020202020204" pitchFamily="34" charset="0"/>
              </a:rPr>
              <a:t>&amp; </a:t>
            </a:r>
            <a:r>
              <a:rPr lang="en-US" i="1" dirty="0">
                <a:latin typeface="Arial" panose="020B0604020202020204" pitchFamily="34" charset="0"/>
                <a:cs typeface="Arial" panose="020B0604020202020204" pitchFamily="34" charset="0"/>
              </a:rPr>
              <a:t>tracking of events</a:t>
            </a:r>
          </a:p>
          <a:p>
            <a:pPr marL="342900" indent="-342900">
              <a:spcAft>
                <a:spcPts val="500"/>
              </a:spcAft>
              <a:buFont typeface="+mj-lt"/>
              <a:buAutoNum type="arabicPeriod"/>
            </a:pPr>
            <a:r>
              <a:rPr lang="en-US" b="1" dirty="0">
                <a:solidFill>
                  <a:srgbClr val="00517E"/>
                </a:solidFill>
                <a:latin typeface="Arial" panose="020B0604020202020204" pitchFamily="34" charset="0"/>
                <a:cs typeface="Arial" panose="020B0604020202020204" pitchFamily="34" charset="0"/>
              </a:rPr>
              <a:t>Data cleansing: ‘the ugly stepchild’</a:t>
            </a:r>
          </a:p>
          <a:p>
            <a:pPr marL="800100" lvl="1" indent="-342900">
              <a:spcAft>
                <a:spcPts val="500"/>
              </a:spcAft>
              <a:buFont typeface="Arial" panose="020B0604020202020204" pitchFamily="34" charset="0"/>
              <a:buChar char="•"/>
            </a:pPr>
            <a:r>
              <a:rPr lang="en-US" dirty="0">
                <a:latin typeface="Arial" panose="020B0604020202020204" pitchFamily="34" charset="0"/>
                <a:cs typeface="Arial" panose="020B0604020202020204" pitchFamily="34" charset="0"/>
              </a:rPr>
              <a:t>Critical underinvestment in data engineering to stage analytics</a:t>
            </a:r>
          </a:p>
        </p:txBody>
      </p:sp>
      <p:sp>
        <p:nvSpPr>
          <p:cNvPr id="3" name="TextBox 2">
            <a:extLst>
              <a:ext uri="{FF2B5EF4-FFF2-40B4-BE49-F238E27FC236}">
                <a16:creationId xmlns:a16="http://schemas.microsoft.com/office/drawing/2014/main" xmlns="" id="{CA31C836-2112-4923-AC2A-DE23978A948F}"/>
              </a:ext>
            </a:extLst>
          </p:cNvPr>
          <p:cNvSpPr txBox="1"/>
          <p:nvPr/>
        </p:nvSpPr>
        <p:spPr>
          <a:xfrm>
            <a:off x="1401904" y="647197"/>
            <a:ext cx="6093206" cy="369332"/>
          </a:xfrm>
          <a:prstGeom prst="rect">
            <a:avLst/>
          </a:prstGeom>
          <a:noFill/>
        </p:spPr>
        <p:txBody>
          <a:bodyPr wrap="none" rtlCol="0">
            <a:spAutoFit/>
          </a:bodyPr>
          <a:lstStyle/>
          <a:p>
            <a:r>
              <a:rPr lang="en-US" b="1" dirty="0">
                <a:solidFill>
                  <a:schemeClr val="accent1"/>
                </a:solidFill>
              </a:rPr>
              <a:t>* Utilizing exploratory factor analysis (extraction of latent factors)</a:t>
            </a:r>
          </a:p>
        </p:txBody>
      </p:sp>
    </p:spTree>
    <p:extLst>
      <p:ext uri="{BB962C8B-B14F-4D97-AF65-F5344CB8AC3E}">
        <p14:creationId xmlns:p14="http://schemas.microsoft.com/office/powerpoint/2010/main" val="1094898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 calcmode="lin" valueType="num">
                                      <p:cBhvr additive="base">
                                        <p:cTn id="11" dur="500" fill="hold"/>
                                        <p:tgtEl>
                                          <p:spTgt spid="12">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 calcmode="lin" valueType="num">
                                      <p:cBhvr additive="base">
                                        <p:cTn id="17" dur="500" fill="hold"/>
                                        <p:tgtEl>
                                          <p:spTgt spid="12">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2">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12">
                                            <p:txEl>
                                              <p:pRg st="3" end="3"/>
                                            </p:txEl>
                                          </p:spTgt>
                                        </p:tgtEl>
                                        <p:attrNameLst>
                                          <p:attrName>style.visibility</p:attrName>
                                        </p:attrNameLst>
                                      </p:cBhvr>
                                      <p:to>
                                        <p:strVal val="visible"/>
                                      </p:to>
                                    </p:set>
                                    <p:anim calcmode="lin" valueType="num">
                                      <p:cBhvr additive="base">
                                        <p:cTn id="21" dur="500" fill="hold"/>
                                        <p:tgtEl>
                                          <p:spTgt spid="12">
                                            <p:txEl>
                                              <p:pRg st="3" end="3"/>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1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12">
                                            <p:txEl>
                                              <p:pRg st="4" end="4"/>
                                            </p:txEl>
                                          </p:spTgt>
                                        </p:tgtEl>
                                        <p:attrNameLst>
                                          <p:attrName>style.visibility</p:attrName>
                                        </p:attrNameLst>
                                      </p:cBhvr>
                                      <p:to>
                                        <p:strVal val="visible"/>
                                      </p:to>
                                    </p:set>
                                    <p:anim calcmode="lin" valueType="num">
                                      <p:cBhvr additive="base">
                                        <p:cTn id="27" dur="500" fill="hold"/>
                                        <p:tgtEl>
                                          <p:spTgt spid="12">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12">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12">
                                            <p:txEl>
                                              <p:pRg st="5" end="5"/>
                                            </p:txEl>
                                          </p:spTgt>
                                        </p:tgtEl>
                                        <p:attrNameLst>
                                          <p:attrName>style.visibility</p:attrName>
                                        </p:attrNameLst>
                                      </p:cBhvr>
                                      <p:to>
                                        <p:strVal val="visible"/>
                                      </p:to>
                                    </p:set>
                                    <p:anim calcmode="lin" valueType="num">
                                      <p:cBhvr additive="base">
                                        <p:cTn id="31" dur="500" fill="hold"/>
                                        <p:tgtEl>
                                          <p:spTgt spid="12">
                                            <p:txEl>
                                              <p:pRg st="5" end="5"/>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12">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12">
                                            <p:txEl>
                                              <p:pRg st="6" end="6"/>
                                            </p:txEl>
                                          </p:spTgt>
                                        </p:tgtEl>
                                        <p:attrNameLst>
                                          <p:attrName>style.visibility</p:attrName>
                                        </p:attrNameLst>
                                      </p:cBhvr>
                                      <p:to>
                                        <p:strVal val="visible"/>
                                      </p:to>
                                    </p:set>
                                    <p:anim calcmode="lin" valueType="num">
                                      <p:cBhvr additive="base">
                                        <p:cTn id="37" dur="500" fill="hold"/>
                                        <p:tgtEl>
                                          <p:spTgt spid="12">
                                            <p:txEl>
                                              <p:pRg st="6" end="6"/>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12">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2" fill="hold" nodeType="withEffect">
                                  <p:stCondLst>
                                    <p:cond delay="0"/>
                                  </p:stCondLst>
                                  <p:childTnLst>
                                    <p:set>
                                      <p:cBhvr>
                                        <p:cTn id="40" dur="1" fill="hold">
                                          <p:stCondLst>
                                            <p:cond delay="0"/>
                                          </p:stCondLst>
                                        </p:cTn>
                                        <p:tgtEl>
                                          <p:spTgt spid="12">
                                            <p:txEl>
                                              <p:pRg st="7" end="7"/>
                                            </p:txEl>
                                          </p:spTgt>
                                        </p:tgtEl>
                                        <p:attrNameLst>
                                          <p:attrName>style.visibility</p:attrName>
                                        </p:attrNameLst>
                                      </p:cBhvr>
                                      <p:to>
                                        <p:strVal val="visible"/>
                                      </p:to>
                                    </p:set>
                                    <p:anim calcmode="lin" valueType="num">
                                      <p:cBhvr additive="base">
                                        <p:cTn id="41" dur="500" fill="hold"/>
                                        <p:tgtEl>
                                          <p:spTgt spid="12">
                                            <p:txEl>
                                              <p:pRg st="7" end="7"/>
                                            </p:txEl>
                                          </p:spTgt>
                                        </p:tgtEl>
                                        <p:attrNameLst>
                                          <p:attrName>ppt_x</p:attrName>
                                        </p:attrNameLst>
                                      </p:cBhvr>
                                      <p:tavLst>
                                        <p:tav tm="0">
                                          <p:val>
                                            <p:strVal val="1+#ppt_w/2"/>
                                          </p:val>
                                        </p:tav>
                                        <p:tav tm="100000">
                                          <p:val>
                                            <p:strVal val="#ppt_x"/>
                                          </p:val>
                                        </p:tav>
                                      </p:tavLst>
                                    </p:anim>
                                    <p:anim calcmode="lin" valueType="num">
                                      <p:cBhvr additive="base">
                                        <p:cTn id="42" dur="500" fill="hold"/>
                                        <p:tgtEl>
                                          <p:spTgt spid="12">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nodeType="clickEffect">
                                  <p:stCondLst>
                                    <p:cond delay="0"/>
                                  </p:stCondLst>
                                  <p:childTnLst>
                                    <p:set>
                                      <p:cBhvr>
                                        <p:cTn id="46" dur="1" fill="hold">
                                          <p:stCondLst>
                                            <p:cond delay="0"/>
                                          </p:stCondLst>
                                        </p:cTn>
                                        <p:tgtEl>
                                          <p:spTgt spid="12">
                                            <p:txEl>
                                              <p:pRg st="8" end="8"/>
                                            </p:txEl>
                                          </p:spTgt>
                                        </p:tgtEl>
                                        <p:attrNameLst>
                                          <p:attrName>style.visibility</p:attrName>
                                        </p:attrNameLst>
                                      </p:cBhvr>
                                      <p:to>
                                        <p:strVal val="visible"/>
                                      </p:to>
                                    </p:set>
                                    <p:anim calcmode="lin" valueType="num">
                                      <p:cBhvr additive="base">
                                        <p:cTn id="47" dur="500" fill="hold"/>
                                        <p:tgtEl>
                                          <p:spTgt spid="12">
                                            <p:txEl>
                                              <p:pRg st="8" end="8"/>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12">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2">
                                            <p:txEl>
                                              <p:pRg st="9" end="9"/>
                                            </p:txEl>
                                          </p:spTgt>
                                        </p:tgtEl>
                                        <p:attrNameLst>
                                          <p:attrName>style.visibility</p:attrName>
                                        </p:attrNameLst>
                                      </p:cBhvr>
                                      <p:to>
                                        <p:strVal val="visible"/>
                                      </p:to>
                                    </p:set>
                                    <p:anim calcmode="lin" valueType="num">
                                      <p:cBhvr additive="base">
                                        <p:cTn id="51" dur="500" fill="hold"/>
                                        <p:tgtEl>
                                          <p:spTgt spid="12">
                                            <p:txEl>
                                              <p:pRg st="9" end="9"/>
                                            </p:txEl>
                                          </p:spTgt>
                                        </p:tgtEl>
                                        <p:attrNameLst>
                                          <p:attrName>ppt_x</p:attrName>
                                        </p:attrNameLst>
                                      </p:cBhvr>
                                      <p:tavLst>
                                        <p:tav tm="0">
                                          <p:val>
                                            <p:strVal val="1+#ppt_w/2"/>
                                          </p:val>
                                        </p:tav>
                                        <p:tav tm="100000">
                                          <p:val>
                                            <p:strVal val="#ppt_x"/>
                                          </p:val>
                                        </p:tav>
                                      </p:tavLst>
                                    </p:anim>
                                    <p:anim calcmode="lin" valueType="num">
                                      <p:cBhvr additive="base">
                                        <p:cTn id="52" dur="500" fill="hold"/>
                                        <p:tgtEl>
                                          <p:spTgt spid="12">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823732"/>
            <a:ext cx="9144000" cy="1200329"/>
          </a:xfrm>
        </p:spPr>
        <p:txBody>
          <a:bodyPr/>
          <a:lstStyle/>
          <a:p>
            <a:r>
              <a:rPr lang="en-US" sz="4400" b="1" dirty="0"/>
              <a:t>Best Practices</a:t>
            </a:r>
            <a:br>
              <a:rPr lang="en-US" sz="4400" b="1" dirty="0"/>
            </a:br>
            <a:r>
              <a:rPr lang="en-US" sz="2800" dirty="0"/>
              <a:t>Perceived CSDS Treatments</a:t>
            </a:r>
            <a:endParaRPr lang="en-US" sz="2400" dirty="0"/>
          </a:p>
        </p:txBody>
      </p:sp>
    </p:spTree>
    <p:extLst>
      <p:ext uri="{BB962C8B-B14F-4D97-AF65-F5344CB8AC3E}">
        <p14:creationId xmlns:p14="http://schemas.microsoft.com/office/powerpoint/2010/main" val="18026903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D186DC-4F07-43C3-AB62-0483873FEA32}"/>
              </a:ext>
            </a:extLst>
          </p:cNvPr>
          <p:cNvSpPr>
            <a:spLocks noGrp="1"/>
          </p:cNvSpPr>
          <p:nvPr>
            <p:ph type="title"/>
          </p:nvPr>
        </p:nvSpPr>
        <p:spPr>
          <a:xfrm>
            <a:off x="582689" y="79220"/>
            <a:ext cx="7891272" cy="457200"/>
          </a:xfrm>
        </p:spPr>
        <p:txBody>
          <a:bodyPr/>
          <a:lstStyle/>
          <a:p>
            <a:r>
              <a:rPr lang="en-US" sz="2400" b="1" u="sng" dirty="0"/>
              <a:t>Best Practices</a:t>
            </a:r>
            <a:r>
              <a:rPr lang="en-US" sz="2400" b="1" dirty="0"/>
              <a:t>:  26 Topics =&gt; 8 Themes*</a:t>
            </a:r>
          </a:p>
        </p:txBody>
      </p:sp>
      <p:sp>
        <p:nvSpPr>
          <p:cNvPr id="6" name="TextBox 5">
            <a:extLst>
              <a:ext uri="{FF2B5EF4-FFF2-40B4-BE49-F238E27FC236}">
                <a16:creationId xmlns:a16="http://schemas.microsoft.com/office/drawing/2014/main" xmlns="" id="{9EF1964D-EB18-4243-9969-4445322FEA9B}"/>
              </a:ext>
            </a:extLst>
          </p:cNvPr>
          <p:cNvSpPr txBox="1"/>
          <p:nvPr/>
        </p:nvSpPr>
        <p:spPr>
          <a:xfrm>
            <a:off x="197335" y="835378"/>
            <a:ext cx="4374665" cy="1051570"/>
          </a:xfrm>
          <a:prstGeom prst="rect">
            <a:avLst/>
          </a:prstGeom>
          <a:solidFill>
            <a:srgbClr val="FFFFCC"/>
          </a:solidFill>
          <a:ln w="28575">
            <a:solidFill>
              <a:schemeClr val="accent3"/>
            </a:solidFill>
          </a:ln>
        </p:spPr>
        <p:txBody>
          <a:bodyPr wrap="square" rtlCol="0">
            <a:spAutoFit/>
          </a:bodyPr>
          <a:lstStyle/>
          <a:p>
            <a:pPr algn="ctr">
              <a:spcAft>
                <a:spcPts val="500"/>
              </a:spcAft>
            </a:pPr>
            <a:r>
              <a:rPr lang="en-US" b="1" u="sng" dirty="0">
                <a:latin typeface="Arial" panose="020B0604020202020204" pitchFamily="34" charset="0"/>
                <a:cs typeface="Arial" panose="020B0604020202020204" pitchFamily="34" charset="0"/>
              </a:rPr>
              <a:t>ORGANIZATION</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Management-driven change</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Training &amp; program governance</a:t>
            </a:r>
          </a:p>
        </p:txBody>
      </p:sp>
      <p:sp>
        <p:nvSpPr>
          <p:cNvPr id="7" name="TextBox 6">
            <a:extLst>
              <a:ext uri="{FF2B5EF4-FFF2-40B4-BE49-F238E27FC236}">
                <a16:creationId xmlns:a16="http://schemas.microsoft.com/office/drawing/2014/main" xmlns="" id="{1B9AED7B-B7BB-4348-A84B-656CE70A06DB}"/>
              </a:ext>
            </a:extLst>
          </p:cNvPr>
          <p:cNvSpPr txBox="1"/>
          <p:nvPr/>
        </p:nvSpPr>
        <p:spPr>
          <a:xfrm>
            <a:off x="1810177" y="473840"/>
            <a:ext cx="5436296" cy="338554"/>
          </a:xfrm>
          <a:prstGeom prst="rect">
            <a:avLst/>
          </a:prstGeom>
          <a:noFill/>
        </p:spPr>
        <p:txBody>
          <a:bodyPr wrap="none" rtlCol="0">
            <a:spAutoFit/>
          </a:bodyPr>
          <a:lstStyle/>
          <a:p>
            <a:r>
              <a:rPr lang="en-US" sz="1600" b="1" dirty="0">
                <a:solidFill>
                  <a:schemeClr val="accent1"/>
                </a:solidFill>
              </a:rPr>
              <a:t>* Utilizing exploratory factor analysis (extraction of latent factors)</a:t>
            </a:r>
          </a:p>
        </p:txBody>
      </p:sp>
      <p:sp>
        <p:nvSpPr>
          <p:cNvPr id="9" name="TextBox 8">
            <a:extLst>
              <a:ext uri="{FF2B5EF4-FFF2-40B4-BE49-F238E27FC236}">
                <a16:creationId xmlns:a16="http://schemas.microsoft.com/office/drawing/2014/main" xmlns="" id="{2DF9BB65-EF6A-4C61-8FFB-4C562A50D8B6}"/>
              </a:ext>
            </a:extLst>
          </p:cNvPr>
          <p:cNvSpPr txBox="1"/>
          <p:nvPr/>
        </p:nvSpPr>
        <p:spPr>
          <a:xfrm>
            <a:off x="2071761" y="2032623"/>
            <a:ext cx="5000478" cy="1392689"/>
          </a:xfrm>
          <a:prstGeom prst="rect">
            <a:avLst/>
          </a:prstGeom>
          <a:solidFill>
            <a:srgbClr val="FFFFCC"/>
          </a:solidFill>
          <a:ln w="25400">
            <a:solidFill>
              <a:schemeClr val="accent3"/>
            </a:solidFill>
          </a:ln>
        </p:spPr>
        <p:txBody>
          <a:bodyPr wrap="square" rtlCol="0">
            <a:spAutoFit/>
          </a:bodyPr>
          <a:lstStyle/>
          <a:p>
            <a:pPr algn="ctr">
              <a:spcAft>
                <a:spcPts val="500"/>
              </a:spcAft>
            </a:pPr>
            <a:r>
              <a:rPr lang="en-US" b="1" u="sng" dirty="0">
                <a:latin typeface="Arial" panose="020B0604020202020204" pitchFamily="34" charset="0"/>
                <a:cs typeface="Arial" panose="020B0604020202020204" pitchFamily="34" charset="0"/>
              </a:rPr>
              <a:t>PROCESS</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Organizational process engineering</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Structured risk quantification</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Focused scientific processes </a:t>
            </a:r>
          </a:p>
        </p:txBody>
      </p:sp>
      <p:sp>
        <p:nvSpPr>
          <p:cNvPr id="10" name="TextBox 9">
            <a:extLst>
              <a:ext uri="{FF2B5EF4-FFF2-40B4-BE49-F238E27FC236}">
                <a16:creationId xmlns:a16="http://schemas.microsoft.com/office/drawing/2014/main" xmlns="" id="{9420DC40-F05D-4D75-B30D-8658ACBA1906}"/>
              </a:ext>
            </a:extLst>
          </p:cNvPr>
          <p:cNvSpPr txBox="1"/>
          <p:nvPr/>
        </p:nvSpPr>
        <p:spPr>
          <a:xfrm>
            <a:off x="4992063" y="3519654"/>
            <a:ext cx="3916194" cy="1392689"/>
          </a:xfrm>
          <a:prstGeom prst="rect">
            <a:avLst/>
          </a:prstGeom>
          <a:solidFill>
            <a:srgbClr val="FFFFCC"/>
          </a:solidFill>
          <a:ln w="25400">
            <a:solidFill>
              <a:schemeClr val="accent3"/>
            </a:solidFill>
          </a:ln>
        </p:spPr>
        <p:txBody>
          <a:bodyPr wrap="square" rtlCol="0">
            <a:spAutoFit/>
          </a:bodyPr>
          <a:lstStyle/>
          <a:p>
            <a:pPr algn="ctr">
              <a:spcAft>
                <a:spcPts val="500"/>
              </a:spcAft>
            </a:pPr>
            <a:r>
              <a:rPr lang="en-US" b="1" u="sng" dirty="0">
                <a:latin typeface="Arial" panose="020B0604020202020204" pitchFamily="34" charset="0"/>
                <a:cs typeface="Arial" panose="020B0604020202020204" pitchFamily="34" charset="0"/>
              </a:rPr>
              <a:t>TECHNOLOGY</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Data engineering practices~</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Ontologies &amp; normalization</a:t>
            </a:r>
          </a:p>
          <a:p>
            <a:pPr marL="342900" indent="-342900">
              <a:spcAft>
                <a:spcPts val="500"/>
              </a:spcAft>
              <a:buFont typeface="Arial" panose="020B0604020202020204" pitchFamily="34" charset="0"/>
              <a:buChar char="•"/>
            </a:pPr>
            <a:r>
              <a:rPr lang="en-US" b="1" dirty="0">
                <a:solidFill>
                  <a:srgbClr val="00517E"/>
                </a:solidFill>
                <a:latin typeface="Arial" panose="020B0604020202020204" pitchFamily="34" charset="0"/>
                <a:cs typeface="Arial" panose="020B0604020202020204" pitchFamily="34" charset="0"/>
              </a:rPr>
              <a:t>Architecture-driven solutions</a:t>
            </a:r>
          </a:p>
        </p:txBody>
      </p:sp>
      <p:grpSp>
        <p:nvGrpSpPr>
          <p:cNvPr id="11" name="Group 10">
            <a:extLst>
              <a:ext uri="{FF2B5EF4-FFF2-40B4-BE49-F238E27FC236}">
                <a16:creationId xmlns:a16="http://schemas.microsoft.com/office/drawing/2014/main" xmlns="" id="{A1B27519-42C9-448A-869C-E2C2C7F41162}"/>
              </a:ext>
            </a:extLst>
          </p:cNvPr>
          <p:cNvGrpSpPr/>
          <p:nvPr/>
        </p:nvGrpSpPr>
        <p:grpSpPr>
          <a:xfrm>
            <a:off x="4807608" y="823810"/>
            <a:ext cx="1200353" cy="1092180"/>
            <a:chOff x="1639605" y="815084"/>
            <a:chExt cx="988853" cy="1018162"/>
          </a:xfrm>
        </p:grpSpPr>
        <p:cxnSp>
          <p:nvCxnSpPr>
            <p:cNvPr id="12" name="Straight Connector 11">
              <a:extLst>
                <a:ext uri="{FF2B5EF4-FFF2-40B4-BE49-F238E27FC236}">
                  <a16:creationId xmlns:a16="http://schemas.microsoft.com/office/drawing/2014/main" xmlns="" id="{15D568BC-A970-44C3-A4A0-B236182E180E}"/>
                </a:ext>
              </a:extLst>
            </p:cNvPr>
            <p:cNvCxnSpPr>
              <a:stCxn id="26" idx="6"/>
              <a:endCxn id="24" idx="0"/>
            </p:cNvCxnSpPr>
            <p:nvPr/>
          </p:nvCxnSpPr>
          <p:spPr>
            <a:xfrm>
              <a:off x="1888814" y="1301217"/>
              <a:ext cx="247739"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xmlns="" id="{E67B1190-6457-4E3D-98F7-ED9FBB46BF85}"/>
                </a:ext>
              </a:extLst>
            </p:cNvPr>
            <p:cNvCxnSpPr>
              <a:stCxn id="24" idx="0"/>
              <a:endCxn id="20" idx="2"/>
            </p:cNvCxnSpPr>
            <p:nvPr/>
          </p:nvCxnSpPr>
          <p:spPr>
            <a:xfrm flipV="1">
              <a:off x="2136553" y="1301217"/>
              <a:ext cx="242696"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xmlns="" id="{F1534368-5011-40B8-9F03-6739DEA28942}"/>
                </a:ext>
              </a:extLst>
            </p:cNvPr>
            <p:cNvCxnSpPr>
              <a:stCxn id="22" idx="4"/>
              <a:endCxn id="20" idx="2"/>
            </p:cNvCxnSpPr>
            <p:nvPr/>
          </p:nvCxnSpPr>
          <p:spPr>
            <a:xfrm>
              <a:off x="2144375" y="1064033"/>
              <a:ext cx="234874"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xmlns="" id="{CDE00D55-A68C-403E-8619-B53BE41A89DC}"/>
                </a:ext>
              </a:extLst>
            </p:cNvPr>
            <p:cNvCxnSpPr>
              <a:stCxn id="22" idx="4"/>
              <a:endCxn id="26" idx="6"/>
            </p:cNvCxnSpPr>
            <p:nvPr/>
          </p:nvCxnSpPr>
          <p:spPr>
            <a:xfrm flipH="1">
              <a:off x="1888814" y="1064033"/>
              <a:ext cx="255561"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xmlns="" id="{C77E0E9A-B26C-48E4-8213-FD72FC61CBA1}"/>
                </a:ext>
              </a:extLst>
            </p:cNvPr>
            <p:cNvGrpSpPr/>
            <p:nvPr/>
          </p:nvGrpSpPr>
          <p:grpSpPr>
            <a:xfrm>
              <a:off x="1639605" y="1176742"/>
              <a:ext cx="249209" cy="248949"/>
              <a:chOff x="1639605" y="1176742"/>
              <a:chExt cx="249209" cy="248949"/>
            </a:xfrm>
          </p:grpSpPr>
          <p:sp>
            <p:nvSpPr>
              <p:cNvPr id="26" name="Oval 25">
                <a:extLst>
                  <a:ext uri="{FF2B5EF4-FFF2-40B4-BE49-F238E27FC236}">
                    <a16:creationId xmlns:a16="http://schemas.microsoft.com/office/drawing/2014/main" xmlns="" id="{29C66EEC-7B84-4981-A159-6E4A26FAD677}"/>
                  </a:ext>
                </a:extLst>
              </p:cNvPr>
              <p:cNvSpPr>
                <a:spLocks noChangeAspect="1"/>
              </p:cNvSpPr>
              <p:nvPr/>
            </p:nvSpPr>
            <p:spPr>
              <a:xfrm>
                <a:off x="1639605"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xmlns="" id="{91382236-ED43-41A1-B425-45B14D9B389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688138" y="1188719"/>
                <a:ext cx="145792" cy="181615"/>
              </a:xfrm>
              <a:prstGeom prst="rect">
                <a:avLst/>
              </a:prstGeom>
            </p:spPr>
          </p:pic>
        </p:grpSp>
        <p:grpSp>
          <p:nvGrpSpPr>
            <p:cNvPr id="17" name="Group 16">
              <a:extLst>
                <a:ext uri="{FF2B5EF4-FFF2-40B4-BE49-F238E27FC236}">
                  <a16:creationId xmlns:a16="http://schemas.microsoft.com/office/drawing/2014/main" xmlns="" id="{8B6C79A5-BAC4-42AE-A416-C418FFC0FFAF}"/>
                </a:ext>
              </a:extLst>
            </p:cNvPr>
            <p:cNvGrpSpPr/>
            <p:nvPr/>
          </p:nvGrpSpPr>
          <p:grpSpPr>
            <a:xfrm>
              <a:off x="2012290" y="1584979"/>
              <a:ext cx="248526" cy="248267"/>
              <a:chOff x="2012290" y="1584979"/>
              <a:chExt cx="248526" cy="248267"/>
            </a:xfrm>
          </p:grpSpPr>
          <p:sp>
            <p:nvSpPr>
              <p:cNvPr id="24" name="Oval 23">
                <a:extLst>
                  <a:ext uri="{FF2B5EF4-FFF2-40B4-BE49-F238E27FC236}">
                    <a16:creationId xmlns:a16="http://schemas.microsoft.com/office/drawing/2014/main" xmlns="" id="{DFA49837-3579-4B58-AF28-EC276686A71F}"/>
                  </a:ext>
                </a:extLst>
              </p:cNvPr>
              <p:cNvSpPr>
                <a:spLocks noChangeAspect="1"/>
              </p:cNvSpPr>
              <p:nvPr/>
            </p:nvSpPr>
            <p:spPr>
              <a:xfrm>
                <a:off x="2012290" y="1584979"/>
                <a:ext cx="248526" cy="248267"/>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xmlns="" id="{F1E37FD5-B1CF-4262-8C11-5BB876FE37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4343" y="1615321"/>
                <a:ext cx="143380" cy="181829"/>
              </a:xfrm>
              <a:prstGeom prst="rect">
                <a:avLst/>
              </a:prstGeom>
              <a:ln w="25400">
                <a:noFill/>
              </a:ln>
            </p:spPr>
          </p:pic>
        </p:grpSp>
        <p:grpSp>
          <p:nvGrpSpPr>
            <p:cNvPr id="18" name="Group 17">
              <a:extLst>
                <a:ext uri="{FF2B5EF4-FFF2-40B4-BE49-F238E27FC236}">
                  <a16:creationId xmlns:a16="http://schemas.microsoft.com/office/drawing/2014/main" xmlns="" id="{A2F3984D-5BE1-4E9B-994E-3B28765C0278}"/>
                </a:ext>
              </a:extLst>
            </p:cNvPr>
            <p:cNvGrpSpPr/>
            <p:nvPr/>
          </p:nvGrpSpPr>
          <p:grpSpPr>
            <a:xfrm>
              <a:off x="2019770" y="815084"/>
              <a:ext cx="249209" cy="248949"/>
              <a:chOff x="2019770" y="815084"/>
              <a:chExt cx="249209" cy="248949"/>
            </a:xfrm>
          </p:grpSpPr>
          <p:sp>
            <p:nvSpPr>
              <p:cNvPr id="22" name="Oval 21">
                <a:extLst>
                  <a:ext uri="{FF2B5EF4-FFF2-40B4-BE49-F238E27FC236}">
                    <a16:creationId xmlns:a16="http://schemas.microsoft.com/office/drawing/2014/main" xmlns="" id="{61A1D04C-66F4-436E-AC7D-6A0B06846DCF}"/>
                  </a:ext>
                </a:extLst>
              </p:cNvPr>
              <p:cNvSpPr>
                <a:spLocks noChangeAspect="1"/>
              </p:cNvSpPr>
              <p:nvPr/>
            </p:nvSpPr>
            <p:spPr>
              <a:xfrm>
                <a:off x="2019770" y="815084"/>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xmlns="" id="{ACD31025-80B5-402A-8568-82535A8091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3200" y="824561"/>
                <a:ext cx="142348" cy="181535"/>
              </a:xfrm>
              <a:prstGeom prst="rect">
                <a:avLst/>
              </a:prstGeom>
            </p:spPr>
          </p:pic>
        </p:grpSp>
        <p:grpSp>
          <p:nvGrpSpPr>
            <p:cNvPr id="19" name="Group 18">
              <a:extLst>
                <a:ext uri="{FF2B5EF4-FFF2-40B4-BE49-F238E27FC236}">
                  <a16:creationId xmlns:a16="http://schemas.microsoft.com/office/drawing/2014/main" xmlns="" id="{98723EDD-FFAB-49B5-908B-259CE9F91951}"/>
                </a:ext>
              </a:extLst>
            </p:cNvPr>
            <p:cNvGrpSpPr/>
            <p:nvPr/>
          </p:nvGrpSpPr>
          <p:grpSpPr>
            <a:xfrm>
              <a:off x="2379249" y="1176742"/>
              <a:ext cx="249209" cy="248949"/>
              <a:chOff x="2379249" y="1176742"/>
              <a:chExt cx="249209" cy="248949"/>
            </a:xfrm>
          </p:grpSpPr>
          <p:sp>
            <p:nvSpPr>
              <p:cNvPr id="20" name="Oval 19">
                <a:extLst>
                  <a:ext uri="{FF2B5EF4-FFF2-40B4-BE49-F238E27FC236}">
                    <a16:creationId xmlns:a16="http://schemas.microsoft.com/office/drawing/2014/main" xmlns="" id="{9358B8CC-ADB4-4A52-B52C-BF49925AD359}"/>
                  </a:ext>
                </a:extLst>
              </p:cNvPr>
              <p:cNvSpPr>
                <a:spLocks noChangeAspect="1"/>
              </p:cNvSpPr>
              <p:nvPr/>
            </p:nvSpPr>
            <p:spPr>
              <a:xfrm>
                <a:off x="2379249"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xmlns="" id="{A8792863-2150-4C3F-8CC6-B1AB063C715A}"/>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7092" y="1200632"/>
                <a:ext cx="153523" cy="201168"/>
              </a:xfrm>
              <a:prstGeom prst="rect">
                <a:avLst/>
              </a:prstGeom>
            </p:spPr>
          </p:pic>
        </p:grpSp>
      </p:grpSp>
      <p:grpSp>
        <p:nvGrpSpPr>
          <p:cNvPr id="28" name="Group 27">
            <a:extLst>
              <a:ext uri="{FF2B5EF4-FFF2-40B4-BE49-F238E27FC236}">
                <a16:creationId xmlns:a16="http://schemas.microsoft.com/office/drawing/2014/main" xmlns="" id="{61E6800E-127A-481F-9D43-8CC12E8DE09A}"/>
              </a:ext>
            </a:extLst>
          </p:cNvPr>
          <p:cNvGrpSpPr/>
          <p:nvPr/>
        </p:nvGrpSpPr>
        <p:grpSpPr>
          <a:xfrm>
            <a:off x="520909" y="2032623"/>
            <a:ext cx="1289268" cy="1285763"/>
            <a:chOff x="6303438" y="1596966"/>
            <a:chExt cx="672459" cy="616841"/>
          </a:xfrm>
        </p:grpSpPr>
        <p:pic>
          <p:nvPicPr>
            <p:cNvPr id="29" name="Picture 28">
              <a:extLst>
                <a:ext uri="{FF2B5EF4-FFF2-40B4-BE49-F238E27FC236}">
                  <a16:creationId xmlns:a16="http://schemas.microsoft.com/office/drawing/2014/main" xmlns="" id="{4A8C97D8-62E7-4B9F-9B76-DC98AD095A3E}"/>
                </a:ext>
              </a:extLst>
            </p:cNvPr>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303438" y="1687153"/>
              <a:ext cx="437461" cy="416675"/>
            </a:xfrm>
            <a:prstGeom prst="rect">
              <a:avLst/>
            </a:prstGeom>
          </p:spPr>
        </p:pic>
        <p:pic>
          <p:nvPicPr>
            <p:cNvPr id="30" name="Picture 29">
              <a:extLst>
                <a:ext uri="{FF2B5EF4-FFF2-40B4-BE49-F238E27FC236}">
                  <a16:creationId xmlns:a16="http://schemas.microsoft.com/office/drawing/2014/main" xmlns="" id="{266C3B6A-4A01-4C3D-986B-44454A5AE726}"/>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654979" y="1926104"/>
              <a:ext cx="302057" cy="287703"/>
            </a:xfrm>
            <a:prstGeom prst="rect">
              <a:avLst/>
            </a:prstGeom>
          </p:spPr>
        </p:pic>
        <p:pic>
          <p:nvPicPr>
            <p:cNvPr id="31" name="Picture 30">
              <a:extLst>
                <a:ext uri="{FF2B5EF4-FFF2-40B4-BE49-F238E27FC236}">
                  <a16:creationId xmlns:a16="http://schemas.microsoft.com/office/drawing/2014/main" xmlns="" id="{C1C70920-CFA2-4ECC-86BD-C73BD9204ADD}"/>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673840" y="1596966"/>
              <a:ext cx="302057" cy="287703"/>
            </a:xfrm>
            <a:prstGeom prst="rect">
              <a:avLst/>
            </a:prstGeom>
          </p:spPr>
        </p:pic>
      </p:grpSp>
      <p:pic>
        <p:nvPicPr>
          <p:cNvPr id="32" name="Picture 2" descr="Afbeeldingsresultaat voor data icon">
            <a:extLst>
              <a:ext uri="{FF2B5EF4-FFF2-40B4-BE49-F238E27FC236}">
                <a16:creationId xmlns:a16="http://schemas.microsoft.com/office/drawing/2014/main" xmlns="" id="{F9003144-27F8-4C0B-B1AB-E8F37E3D89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32818" y="3519654"/>
            <a:ext cx="1328050" cy="1328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306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0-#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0-#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0-#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593057"/>
            <a:ext cx="9144000" cy="1200329"/>
          </a:xfrm>
        </p:spPr>
        <p:txBody>
          <a:bodyPr/>
          <a:lstStyle/>
          <a:p>
            <a:r>
              <a:rPr lang="en-US" sz="4400" b="1" dirty="0"/>
              <a:t>Key Guidance</a:t>
            </a:r>
            <a:br>
              <a:rPr lang="en-US" sz="4400" b="1" dirty="0"/>
            </a:br>
            <a:r>
              <a:rPr lang="en-US" sz="2800" dirty="0"/>
              <a:t>CSDS Gap Prescriptions</a:t>
            </a:r>
            <a:endParaRPr lang="en-US" sz="2400" dirty="0"/>
          </a:p>
        </p:txBody>
      </p:sp>
    </p:spTree>
    <p:extLst>
      <p:ext uri="{BB962C8B-B14F-4D97-AF65-F5344CB8AC3E}">
        <p14:creationId xmlns:p14="http://schemas.microsoft.com/office/powerpoint/2010/main" val="35606414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00F33E-9799-4E52-9A3A-B38F7FC1B50A}"/>
              </a:ext>
            </a:extLst>
          </p:cNvPr>
          <p:cNvSpPr>
            <a:spLocks noGrp="1"/>
          </p:cNvSpPr>
          <p:nvPr>
            <p:ph type="title"/>
          </p:nvPr>
        </p:nvSpPr>
        <p:spPr>
          <a:xfrm>
            <a:off x="154172" y="46648"/>
            <a:ext cx="8835655" cy="457200"/>
          </a:xfrm>
        </p:spPr>
        <p:txBody>
          <a:bodyPr/>
          <a:lstStyle/>
          <a:p>
            <a:r>
              <a:rPr lang="en-US" sz="2400" b="1" dirty="0"/>
              <a:t>Key Prescribed Treatments: Correlation Between Factors</a:t>
            </a:r>
          </a:p>
        </p:txBody>
      </p:sp>
      <p:graphicFrame>
        <p:nvGraphicFramePr>
          <p:cNvPr id="3" name="Table 2">
            <a:extLst>
              <a:ext uri="{FF2B5EF4-FFF2-40B4-BE49-F238E27FC236}">
                <a16:creationId xmlns:a16="http://schemas.microsoft.com/office/drawing/2014/main" xmlns="" id="{3E6D2F72-2092-46F2-94F1-CC019E57725C}"/>
              </a:ext>
            </a:extLst>
          </p:cNvPr>
          <p:cNvGraphicFramePr>
            <a:graphicFrameLocks noGrp="1"/>
          </p:cNvGraphicFramePr>
          <p:nvPr>
            <p:extLst>
              <p:ext uri="{D42A27DB-BD31-4B8C-83A1-F6EECF244321}">
                <p14:modId xmlns:p14="http://schemas.microsoft.com/office/powerpoint/2010/main" val="3810504034"/>
              </p:ext>
            </p:extLst>
          </p:nvPr>
        </p:nvGraphicFramePr>
        <p:xfrm>
          <a:off x="418440" y="615608"/>
          <a:ext cx="8405744" cy="4092167"/>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4162568">
                  <a:extLst>
                    <a:ext uri="{9D8B030D-6E8A-4147-A177-3AD203B41FA5}">
                      <a16:colId xmlns:a16="http://schemas.microsoft.com/office/drawing/2014/main" xmlns="" val="2703569942"/>
                    </a:ext>
                  </a:extLst>
                </a:gridCol>
                <a:gridCol w="4243176">
                  <a:extLst>
                    <a:ext uri="{9D8B030D-6E8A-4147-A177-3AD203B41FA5}">
                      <a16:colId xmlns:a16="http://schemas.microsoft.com/office/drawing/2014/main" xmlns="" val="2866447094"/>
                    </a:ext>
                  </a:extLst>
                </a:gridCol>
              </a:tblGrid>
              <a:tr h="526007">
                <a:tc>
                  <a:txBody>
                    <a:bodyPr/>
                    <a:lstStyle/>
                    <a:p>
                      <a:pPr algn="ctr"/>
                      <a:r>
                        <a:rPr lang="en-US" sz="2800" b="1" dirty="0"/>
                        <a:t>Challenge Themes</a:t>
                      </a:r>
                    </a:p>
                  </a:txBody>
                  <a:tcPr/>
                </a:tc>
                <a:tc>
                  <a:txBody>
                    <a:bodyPr/>
                    <a:lstStyle/>
                    <a:p>
                      <a:pPr algn="ctr"/>
                      <a:r>
                        <a:rPr lang="en-US" sz="2800" dirty="0"/>
                        <a:t>Best Practice Themes</a:t>
                      </a:r>
                    </a:p>
                  </a:txBody>
                  <a:tcPr/>
                </a:tc>
                <a:extLst>
                  <a:ext uri="{0D108BD9-81ED-4DB2-BD59-A6C34878D82A}">
                    <a16:rowId xmlns:a16="http://schemas.microsoft.com/office/drawing/2014/main" xmlns="" val="101493797"/>
                  </a:ext>
                </a:extLst>
              </a:tr>
              <a:tr h="5500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1. Leadership has ‘lost the plot’</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Management-driven chan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Training &amp; program governance</a:t>
                      </a:r>
                    </a:p>
                  </a:txBody>
                  <a:tcPr/>
                </a:tc>
                <a:extLst>
                  <a:ext uri="{0D108BD9-81ED-4DB2-BD59-A6C34878D82A}">
                    <a16:rowId xmlns:a16="http://schemas.microsoft.com/office/drawing/2014/main" xmlns="" val="3784207557"/>
                  </a:ext>
                </a:extLst>
              </a:tr>
              <a:tr h="535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2. Can’t do it all!</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Organizational process engine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Focused scientific processes</a:t>
                      </a:r>
                    </a:p>
                  </a:txBody>
                  <a:tcPr/>
                </a:tc>
                <a:extLst>
                  <a:ext uri="{0D108BD9-81ED-4DB2-BD59-A6C34878D82A}">
                    <a16:rowId xmlns:a16="http://schemas.microsoft.com/office/drawing/2014/main" xmlns="" val="2710314042"/>
                  </a:ext>
                </a:extLst>
              </a:tr>
              <a:tr h="4864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3. Between a rock and a hard pl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   </a:t>
                      </a:r>
                      <a:r>
                        <a:rPr lang="en-US" sz="1400" dirty="0">
                          <a:solidFill>
                            <a:srgbClr val="00517E"/>
                          </a:solidFill>
                          <a:latin typeface="Arial" panose="020B0604020202020204" pitchFamily="34" charset="0"/>
                          <a:cs typeface="Arial" panose="020B0604020202020204" pitchFamily="34" charset="0"/>
                        </a:rPr>
                        <a:t>(limits of rules vs. hype)</a:t>
                      </a:r>
                      <a:endParaRPr lang="en-US" sz="1800" dirty="0">
                        <a:solidFill>
                          <a:srgbClr val="00517E"/>
                        </a:solidFill>
                        <a:latin typeface="Arial" panose="020B0604020202020204" pitchFamily="34" charset="0"/>
                        <a:cs typeface="Arial" panose="020B060402020202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Architecture-driven solu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Ontologies &amp; normalization</a:t>
                      </a:r>
                    </a:p>
                  </a:txBody>
                  <a:tcPr/>
                </a:tc>
                <a:extLst>
                  <a:ext uri="{0D108BD9-81ED-4DB2-BD59-A6C34878D82A}">
                    <a16:rowId xmlns:a16="http://schemas.microsoft.com/office/drawing/2014/main" xmlns="" val="3226238346"/>
                  </a:ext>
                </a:extLst>
              </a:tr>
              <a:tr h="5775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4. Scientific contextualis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Training &amp; program govern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Data engineering practices</a:t>
                      </a:r>
                    </a:p>
                  </a:txBody>
                  <a:tcPr/>
                </a:tc>
                <a:extLst>
                  <a:ext uri="{0D108BD9-81ED-4DB2-BD59-A6C34878D82A}">
                    <a16:rowId xmlns:a16="http://schemas.microsoft.com/office/drawing/2014/main" xmlns="" val="2359681966"/>
                  </a:ext>
                </a:extLst>
              </a:tr>
              <a:tr h="1180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5. Data cleansing: ‘the ugly stepchild’</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Management-driven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Training &amp; program gover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Structured risk quan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Focused scientific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Data engineering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Ontologies &amp; normalization</a:t>
                      </a:r>
                    </a:p>
                  </a:txBody>
                  <a:tcPr/>
                </a:tc>
                <a:extLst>
                  <a:ext uri="{0D108BD9-81ED-4DB2-BD59-A6C34878D82A}">
                    <a16:rowId xmlns:a16="http://schemas.microsoft.com/office/drawing/2014/main" xmlns="" val="3114175996"/>
                  </a:ext>
                </a:extLst>
              </a:tr>
            </a:tbl>
          </a:graphicData>
        </a:graphic>
      </p:graphicFrame>
      <p:sp>
        <p:nvSpPr>
          <p:cNvPr id="7" name="Rectangle: Rounded Corners 6">
            <a:extLst>
              <a:ext uri="{FF2B5EF4-FFF2-40B4-BE49-F238E27FC236}">
                <a16:creationId xmlns:a16="http://schemas.microsoft.com/office/drawing/2014/main" xmlns="" id="{21D62B65-8B18-47A4-A55E-293FC790BF75}"/>
              </a:ext>
            </a:extLst>
          </p:cNvPr>
          <p:cNvSpPr/>
          <p:nvPr/>
        </p:nvSpPr>
        <p:spPr>
          <a:xfrm>
            <a:off x="418439" y="3514106"/>
            <a:ext cx="8405745" cy="1193669"/>
          </a:xfrm>
          <a:prstGeom prst="round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0" name="Rectangle 9">
            <a:extLst>
              <a:ext uri="{FF2B5EF4-FFF2-40B4-BE49-F238E27FC236}">
                <a16:creationId xmlns:a16="http://schemas.microsoft.com/office/drawing/2014/main" xmlns="" id="{F606F9AA-5E4F-44CD-8F0F-AFAE65C3E6C6}"/>
              </a:ext>
            </a:extLst>
          </p:cNvPr>
          <p:cNvSpPr/>
          <p:nvPr/>
        </p:nvSpPr>
        <p:spPr>
          <a:xfrm>
            <a:off x="270266" y="1707180"/>
            <a:ext cx="8756619" cy="68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1" name="Rectangle 10">
            <a:extLst>
              <a:ext uri="{FF2B5EF4-FFF2-40B4-BE49-F238E27FC236}">
                <a16:creationId xmlns:a16="http://schemas.microsoft.com/office/drawing/2014/main" xmlns="" id="{3E9C6943-66FC-4695-B433-20D644973FB4}"/>
              </a:ext>
            </a:extLst>
          </p:cNvPr>
          <p:cNvSpPr/>
          <p:nvPr/>
        </p:nvSpPr>
        <p:spPr>
          <a:xfrm>
            <a:off x="295041" y="2306077"/>
            <a:ext cx="8756619" cy="740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2" name="Rectangle 11">
            <a:extLst>
              <a:ext uri="{FF2B5EF4-FFF2-40B4-BE49-F238E27FC236}">
                <a16:creationId xmlns:a16="http://schemas.microsoft.com/office/drawing/2014/main" xmlns="" id="{BB9C9B90-7716-424E-9CA0-4C11DC58EC74}"/>
              </a:ext>
            </a:extLst>
          </p:cNvPr>
          <p:cNvSpPr/>
          <p:nvPr/>
        </p:nvSpPr>
        <p:spPr>
          <a:xfrm>
            <a:off x="193689" y="2945337"/>
            <a:ext cx="8756619" cy="568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3" name="Rectangle 12">
            <a:extLst>
              <a:ext uri="{FF2B5EF4-FFF2-40B4-BE49-F238E27FC236}">
                <a16:creationId xmlns:a16="http://schemas.microsoft.com/office/drawing/2014/main" xmlns="" id="{A7EEE47A-4152-45E0-A12F-BA6F9C984B7B}"/>
              </a:ext>
            </a:extLst>
          </p:cNvPr>
          <p:cNvSpPr/>
          <p:nvPr/>
        </p:nvSpPr>
        <p:spPr>
          <a:xfrm>
            <a:off x="275447" y="3517004"/>
            <a:ext cx="8756619" cy="130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6" name="Rectangle 15">
            <a:extLst>
              <a:ext uri="{FF2B5EF4-FFF2-40B4-BE49-F238E27FC236}">
                <a16:creationId xmlns:a16="http://schemas.microsoft.com/office/drawing/2014/main" xmlns="" id="{19A66307-C8E1-4954-8837-AFF0C9E2DA06}"/>
              </a:ext>
            </a:extLst>
          </p:cNvPr>
          <p:cNvSpPr/>
          <p:nvPr/>
        </p:nvSpPr>
        <p:spPr>
          <a:xfrm>
            <a:off x="240782" y="1138510"/>
            <a:ext cx="8835654" cy="637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3636366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1"/>
                                        </p:tgtEl>
                                      </p:cBhvr>
                                    </p:animEffect>
                                    <p:set>
                                      <p:cBhvr>
                                        <p:cTn id="17" dur="1" fill="hold">
                                          <p:stCondLst>
                                            <p:cond delay="499"/>
                                          </p:stCondLst>
                                        </p:cTn>
                                        <p:tgtEl>
                                          <p:spTgt spid="11"/>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3"/>
                                        </p:tgtEl>
                                      </p:cBhvr>
                                    </p:animEffect>
                                    <p:set>
                                      <p:cBhvr>
                                        <p:cTn id="27" dur="1" fill="hold">
                                          <p:stCondLst>
                                            <p:cond delay="499"/>
                                          </p:stCondLst>
                                        </p:cTn>
                                        <p:tgtEl>
                                          <p:spTgt spid="13"/>
                                        </p:tgtEl>
                                        <p:attrNameLst>
                                          <p:attrName>style.visibility</p:attrName>
                                        </p:attrNameLst>
                                      </p:cBhvr>
                                      <p:to>
                                        <p:strVal val="hidden"/>
                                      </p:to>
                                    </p:set>
                                  </p:childTnLst>
                                </p:cTn>
                              </p:par>
                            </p:childTnLst>
                          </p:cTn>
                        </p:par>
                        <p:par>
                          <p:cTn id="28" fill="hold">
                            <p:stCondLst>
                              <p:cond delay="500"/>
                            </p:stCondLst>
                            <p:childTnLst>
                              <p:par>
                                <p:cTn id="29" presetID="53" presetClass="entr" presetSubtype="16"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p:cTn id="31" dur="500" fill="hold"/>
                                        <p:tgtEl>
                                          <p:spTgt spid="7"/>
                                        </p:tgtEl>
                                        <p:attrNameLst>
                                          <p:attrName>ppt_w</p:attrName>
                                        </p:attrNameLst>
                                      </p:cBhvr>
                                      <p:tavLst>
                                        <p:tav tm="0">
                                          <p:val>
                                            <p:fltVal val="0"/>
                                          </p:val>
                                        </p:tav>
                                        <p:tav tm="100000">
                                          <p:val>
                                            <p:strVal val="#ppt_w"/>
                                          </p:val>
                                        </p:tav>
                                      </p:tavLst>
                                    </p:anim>
                                    <p:anim calcmode="lin" valueType="num">
                                      <p:cBhvr>
                                        <p:cTn id="32" dur="500" fill="hold"/>
                                        <p:tgtEl>
                                          <p:spTgt spid="7"/>
                                        </p:tgtEl>
                                        <p:attrNameLst>
                                          <p:attrName>ppt_h</p:attrName>
                                        </p:attrNameLst>
                                      </p:cBhvr>
                                      <p:tavLst>
                                        <p:tav tm="0">
                                          <p:val>
                                            <p:fltVal val="0"/>
                                          </p:val>
                                        </p:tav>
                                        <p:tav tm="100000">
                                          <p:val>
                                            <p:strVal val="#ppt_h"/>
                                          </p:val>
                                        </p:tav>
                                      </p:tavLst>
                                    </p:anim>
                                    <p:animEffect transition="in" filter="fade">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2" grpId="0" animBg="1"/>
      <p:bldP spid="13" grpId="0" animBg="1"/>
      <p:bldP spid="1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959331" y="749303"/>
            <a:ext cx="3400604" cy="1674468"/>
          </a:xfrm>
          <a:prstGeom prst="rect">
            <a:avLst/>
          </a:prstGeom>
          <a:gradFill flip="none" rotWithShape="1">
            <a:gsLst>
              <a:gs pos="50000">
                <a:srgbClr val="D4E5F4">
                  <a:alpha val="45000"/>
                </a:srgbClr>
              </a:gs>
              <a:gs pos="0">
                <a:srgbClr val="81B2DE"/>
              </a:gs>
              <a:gs pos="99583">
                <a:srgbClr val="7DAFDD"/>
              </a:gs>
              <a:gs pos="20000">
                <a:srgbClr val="9BC2E5"/>
              </a:gs>
              <a:gs pos="83000">
                <a:srgbClr val="93BDE3"/>
              </a:gs>
            </a:gsLst>
            <a:lin ang="5400000" scaled="0"/>
            <a:tileRect/>
          </a:gradFill>
          <a:ln w="15875">
            <a:solidFill>
              <a:schemeClr val="accent1"/>
            </a:solidFill>
          </a:ln>
          <a:effectLst>
            <a:glow>
              <a:schemeClr val="accent1"/>
            </a:glow>
            <a:outerShdw blurRad="50800" dist="38100" dir="2700000" algn="tl" rotWithShape="0">
              <a:prstClr val="black">
                <a:alpha val="40000"/>
              </a:prstClr>
            </a:outerShd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endParaRPr lang="en-US" sz="825" b="1" dirty="0">
              <a:solidFill>
                <a:srgbClr val="00539B">
                  <a:lumMod val="75000"/>
                </a:srgbClr>
              </a:solidFill>
            </a:endParaRPr>
          </a:p>
        </p:txBody>
      </p:sp>
      <p:sp>
        <p:nvSpPr>
          <p:cNvPr id="10" name="Rectangle 9"/>
          <p:cNvSpPr/>
          <p:nvPr/>
        </p:nvSpPr>
        <p:spPr>
          <a:xfrm>
            <a:off x="150992" y="749304"/>
            <a:ext cx="1586123" cy="1674468"/>
          </a:xfrm>
          <a:prstGeom prst="rect">
            <a:avLst/>
          </a:prstGeom>
          <a:gradFill flip="none" rotWithShape="1">
            <a:gsLst>
              <a:gs pos="50000">
                <a:srgbClr val="D4E5F4"/>
              </a:gs>
              <a:gs pos="0">
                <a:srgbClr val="81B2DE"/>
              </a:gs>
              <a:gs pos="99583">
                <a:srgbClr val="7DAFDD"/>
              </a:gs>
              <a:gs pos="20000">
                <a:srgbClr val="9BC2E5"/>
              </a:gs>
              <a:gs pos="83000">
                <a:srgbClr val="93BDE3"/>
              </a:gs>
            </a:gsLst>
            <a:lin ang="5400000" scaled="0"/>
            <a:tileRect/>
          </a:gradFill>
          <a:ln w="15875">
            <a:solidFill>
              <a:schemeClr val="accent1"/>
            </a:solidFill>
          </a:ln>
          <a:effectLst>
            <a:glow>
              <a:schemeClr val="accent1"/>
            </a:glow>
            <a:outerShdw blurRad="50800" dist="38100" dir="2700000" algn="tl" rotWithShape="0">
              <a:prstClr val="black">
                <a:alpha val="40000"/>
              </a:prstClr>
            </a:outerShd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274313"/>
            <a:endParaRPr lang="en-US" sz="825" b="1" dirty="0">
              <a:solidFill>
                <a:srgbClr val="00539B">
                  <a:lumMod val="75000"/>
                </a:srgbClr>
              </a:solidFill>
            </a:endParaRPr>
          </a:p>
        </p:txBody>
      </p:sp>
      <p:sp>
        <p:nvSpPr>
          <p:cNvPr id="12" name="Rectangle 11"/>
          <p:cNvSpPr/>
          <p:nvPr/>
        </p:nvSpPr>
        <p:spPr>
          <a:xfrm>
            <a:off x="5598068" y="749304"/>
            <a:ext cx="1586123" cy="1701931"/>
          </a:xfrm>
          <a:prstGeom prst="rect">
            <a:avLst/>
          </a:prstGeom>
          <a:gradFill flip="none" rotWithShape="1">
            <a:gsLst>
              <a:gs pos="50000">
                <a:srgbClr val="D4E5F4"/>
              </a:gs>
              <a:gs pos="0">
                <a:srgbClr val="81B2DE"/>
              </a:gs>
              <a:gs pos="99583">
                <a:srgbClr val="7DAFDD"/>
              </a:gs>
              <a:gs pos="20000">
                <a:srgbClr val="9BC2E5"/>
              </a:gs>
              <a:gs pos="83000">
                <a:srgbClr val="93BDE3"/>
              </a:gs>
            </a:gsLst>
            <a:lin ang="5400000" scaled="0"/>
            <a:tileRect/>
          </a:gradFill>
          <a:ln w="15875">
            <a:solidFill>
              <a:schemeClr val="accent1"/>
            </a:solidFill>
          </a:ln>
          <a:effectLst>
            <a:glow>
              <a:schemeClr val="accent1"/>
            </a:glow>
            <a:outerShdw blurRad="50800" dist="38100" dir="2700000" algn="tl" rotWithShape="0">
              <a:prstClr val="black">
                <a:alpha val="40000"/>
              </a:prstClr>
            </a:outerShd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endParaRPr lang="en-US" sz="825" b="1" dirty="0">
              <a:solidFill>
                <a:srgbClr val="00539B">
                  <a:lumMod val="75000"/>
                </a:srgbClr>
              </a:solidFill>
            </a:endParaRPr>
          </a:p>
        </p:txBody>
      </p:sp>
      <p:sp>
        <p:nvSpPr>
          <p:cNvPr id="13" name="Rectangle 12"/>
          <p:cNvSpPr/>
          <p:nvPr/>
        </p:nvSpPr>
        <p:spPr>
          <a:xfrm>
            <a:off x="7384351" y="749303"/>
            <a:ext cx="1586123" cy="1741482"/>
          </a:xfrm>
          <a:prstGeom prst="rect">
            <a:avLst/>
          </a:prstGeom>
          <a:gradFill flip="none" rotWithShape="1">
            <a:gsLst>
              <a:gs pos="50000">
                <a:srgbClr val="D4E5F4"/>
              </a:gs>
              <a:gs pos="0">
                <a:srgbClr val="81B2DE"/>
              </a:gs>
              <a:gs pos="99583">
                <a:srgbClr val="7DAFDD"/>
              </a:gs>
              <a:gs pos="20000">
                <a:srgbClr val="9BC2E5"/>
              </a:gs>
              <a:gs pos="83000">
                <a:srgbClr val="93BDE3"/>
              </a:gs>
            </a:gsLst>
            <a:lin ang="5400000" scaled="0"/>
            <a:tileRect/>
          </a:gradFill>
          <a:ln w="15875">
            <a:solidFill>
              <a:schemeClr val="accent1"/>
            </a:solidFill>
          </a:ln>
          <a:effectLst>
            <a:glow>
              <a:schemeClr val="accent1"/>
            </a:glow>
            <a:outerShdw blurRad="50800" dist="38100" dir="2700000" algn="tl" rotWithShape="0">
              <a:prstClr val="black">
                <a:alpha val="40000"/>
              </a:prstClr>
            </a:outerShd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endParaRPr lang="en-US" sz="825" b="1" dirty="0">
              <a:solidFill>
                <a:srgbClr val="00539B">
                  <a:lumMod val="75000"/>
                </a:srgbClr>
              </a:solidFill>
            </a:endParaRPr>
          </a:p>
        </p:txBody>
      </p:sp>
      <p:pic>
        <p:nvPicPr>
          <p:cNvPr id="14"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422323" y="1797764"/>
            <a:ext cx="852181" cy="6779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7" name="Rectangle 16"/>
          <p:cNvSpPr/>
          <p:nvPr/>
        </p:nvSpPr>
        <p:spPr>
          <a:xfrm>
            <a:off x="177822" y="645473"/>
            <a:ext cx="1532462" cy="375716"/>
          </a:xfrm>
          <a:prstGeom prst="rect">
            <a:avLst/>
          </a:prstGeom>
          <a:gradFill flip="none" rotWithShape="1">
            <a:gsLst>
              <a:gs pos="50000">
                <a:srgbClr val="48ACE5"/>
              </a:gs>
              <a:gs pos="0">
                <a:srgbClr val="005DA3"/>
              </a:gs>
              <a:gs pos="100000">
                <a:srgbClr val="00549A"/>
              </a:gs>
              <a:gs pos="20000">
                <a:srgbClr val="0E86CA"/>
              </a:gs>
              <a:gs pos="80000">
                <a:schemeClr val="accent1"/>
              </a:gs>
            </a:gsLst>
            <a:lin ang="0" scaled="0"/>
            <a:tileRect/>
          </a:gradFill>
          <a:ln w="19050">
            <a:solidFill>
              <a:srgbClr val="004C9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lnSpc>
                <a:spcPct val="90000"/>
              </a:lnSpc>
            </a:pPr>
            <a:r>
              <a:rPr lang="en-US" sz="1600" b="1" dirty="0">
                <a:solidFill>
                  <a:prstClr val="white"/>
                </a:solidFill>
                <a:effectLst>
                  <a:outerShdw blurRad="38100" dist="38100" dir="2700000" algn="tl">
                    <a:srgbClr val="000000">
                      <a:alpha val="43137"/>
                    </a:srgbClr>
                  </a:outerShdw>
                </a:effectLst>
              </a:rPr>
              <a:t>Data Engineering</a:t>
            </a:r>
          </a:p>
        </p:txBody>
      </p:sp>
      <p:sp>
        <p:nvSpPr>
          <p:cNvPr id="18" name="Rectangle 17"/>
          <p:cNvSpPr/>
          <p:nvPr/>
        </p:nvSpPr>
        <p:spPr>
          <a:xfrm>
            <a:off x="1999493" y="645473"/>
            <a:ext cx="3318300" cy="375716"/>
          </a:xfrm>
          <a:prstGeom prst="rect">
            <a:avLst/>
          </a:prstGeom>
          <a:gradFill flip="none" rotWithShape="1">
            <a:gsLst>
              <a:gs pos="50000">
                <a:srgbClr val="48ACE5"/>
              </a:gs>
              <a:gs pos="0">
                <a:srgbClr val="005DA3"/>
              </a:gs>
              <a:gs pos="100000">
                <a:srgbClr val="00549A"/>
              </a:gs>
              <a:gs pos="20000">
                <a:srgbClr val="0E86CA"/>
              </a:gs>
              <a:gs pos="80000">
                <a:schemeClr val="accent1"/>
              </a:gs>
            </a:gsLst>
            <a:lin ang="0" scaled="0"/>
            <a:tileRect/>
          </a:gradFill>
          <a:ln w="19050">
            <a:solidFill>
              <a:srgbClr val="004C9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lnSpc>
                <a:spcPct val="90000"/>
              </a:lnSpc>
            </a:pPr>
            <a:r>
              <a:rPr lang="en-US" b="1" dirty="0">
                <a:solidFill>
                  <a:prstClr val="white"/>
                </a:solidFill>
                <a:effectLst>
                  <a:outerShdw blurRad="38100" dist="38100" dir="2700000" algn="tl">
                    <a:srgbClr val="000000">
                      <a:alpha val="43137"/>
                    </a:srgbClr>
                  </a:outerShdw>
                </a:effectLst>
              </a:rPr>
              <a:t>Advanced Analytics</a:t>
            </a:r>
          </a:p>
        </p:txBody>
      </p:sp>
      <p:sp>
        <p:nvSpPr>
          <p:cNvPr id="19" name="Rectangle 18"/>
          <p:cNvSpPr/>
          <p:nvPr/>
        </p:nvSpPr>
        <p:spPr>
          <a:xfrm>
            <a:off x="5648782" y="645473"/>
            <a:ext cx="1485000" cy="375716"/>
          </a:xfrm>
          <a:prstGeom prst="rect">
            <a:avLst/>
          </a:prstGeom>
          <a:gradFill flip="none" rotWithShape="1">
            <a:gsLst>
              <a:gs pos="50000">
                <a:srgbClr val="48ACE5"/>
              </a:gs>
              <a:gs pos="0">
                <a:srgbClr val="005DA3"/>
              </a:gs>
              <a:gs pos="100000">
                <a:srgbClr val="00549A"/>
              </a:gs>
              <a:gs pos="20000">
                <a:srgbClr val="0E86CA"/>
              </a:gs>
              <a:gs pos="80000">
                <a:schemeClr val="accent1"/>
              </a:gs>
            </a:gsLst>
            <a:lin ang="0" scaled="0"/>
            <a:tileRect/>
          </a:gradFill>
          <a:ln w="19050">
            <a:solidFill>
              <a:srgbClr val="004C9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lnSpc>
                <a:spcPct val="90000"/>
              </a:lnSpc>
            </a:pPr>
            <a:r>
              <a:rPr lang="en-US" sz="1600" b="1" dirty="0">
                <a:solidFill>
                  <a:prstClr val="white"/>
                </a:solidFill>
                <a:effectLst>
                  <a:outerShdw blurRad="38100" dist="38100" dir="2700000" algn="tl">
                    <a:srgbClr val="000000">
                      <a:alpha val="43137"/>
                    </a:srgbClr>
                  </a:outerShdw>
                </a:effectLst>
              </a:rPr>
              <a:t>Triage / Validate</a:t>
            </a:r>
            <a:endParaRPr lang="en-US" sz="900" b="1" dirty="0">
              <a:solidFill>
                <a:prstClr val="white"/>
              </a:solidFill>
              <a:effectLst>
                <a:outerShdw blurRad="38100" dist="38100" dir="2700000" algn="tl">
                  <a:srgbClr val="000000">
                    <a:alpha val="43137"/>
                  </a:srgbClr>
                </a:outerShdw>
              </a:effectLst>
            </a:endParaRPr>
          </a:p>
        </p:txBody>
      </p:sp>
      <p:sp>
        <p:nvSpPr>
          <p:cNvPr id="20" name="Rectangle 19"/>
          <p:cNvSpPr/>
          <p:nvPr/>
        </p:nvSpPr>
        <p:spPr>
          <a:xfrm>
            <a:off x="7444342" y="645473"/>
            <a:ext cx="1485000" cy="375716"/>
          </a:xfrm>
          <a:prstGeom prst="rect">
            <a:avLst/>
          </a:prstGeom>
          <a:gradFill flip="none" rotWithShape="1">
            <a:gsLst>
              <a:gs pos="50000">
                <a:srgbClr val="48ACE5"/>
              </a:gs>
              <a:gs pos="0">
                <a:srgbClr val="005DA3"/>
              </a:gs>
              <a:gs pos="100000">
                <a:srgbClr val="00549A"/>
              </a:gs>
              <a:gs pos="20000">
                <a:srgbClr val="0E86CA"/>
              </a:gs>
              <a:gs pos="80000">
                <a:schemeClr val="accent1"/>
              </a:gs>
            </a:gsLst>
            <a:lin ang="0" scaled="0"/>
            <a:tileRect/>
          </a:gradFill>
          <a:ln w="19050">
            <a:solidFill>
              <a:srgbClr val="004C9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lnSpc>
                <a:spcPct val="90000"/>
              </a:lnSpc>
            </a:pPr>
            <a:r>
              <a:rPr lang="en-US" b="1" dirty="0">
                <a:solidFill>
                  <a:prstClr val="white"/>
                </a:solidFill>
                <a:effectLst>
                  <a:outerShdw blurRad="38100" dist="38100" dir="2700000" algn="tl">
                    <a:srgbClr val="000000">
                      <a:alpha val="43137"/>
                    </a:srgbClr>
                  </a:outerShdw>
                </a:effectLst>
              </a:rPr>
              <a:t>Remediate</a:t>
            </a:r>
          </a:p>
        </p:txBody>
      </p:sp>
      <p:pic>
        <p:nvPicPr>
          <p:cNvPr id="24" name="Picture 14" descr="http://www.mapcentia.com/images/icons/frontpage/upload.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93312" y="1732111"/>
            <a:ext cx="709808" cy="468194"/>
          </a:xfrm>
          <a:prstGeom prst="rect">
            <a:avLst/>
          </a:prstGeom>
          <a:noFill/>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25" name="Picture 2" descr="access, cloud, data, database, device, disk, drive, harddrive, save, server, storage icon"/>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26331" y="1687636"/>
            <a:ext cx="564062" cy="564062"/>
          </a:xfrm>
          <a:prstGeom prst="rect">
            <a:avLst/>
          </a:prstGeom>
          <a:noFill/>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26" name="Picture 25"/>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82617" y="1118211"/>
            <a:ext cx="630148" cy="562023"/>
          </a:xfrm>
          <a:prstGeom prst="rect">
            <a:avLst/>
          </a:prstGeom>
          <a:effectLst>
            <a:outerShdw blurRad="50800" dist="38100" dir="2700000" algn="tl" rotWithShape="0">
              <a:prstClr val="black">
                <a:alpha val="40000"/>
              </a:prstClr>
            </a:outerShdw>
          </a:effectLst>
        </p:spPr>
      </p:pic>
      <p:pic>
        <p:nvPicPr>
          <p:cNvPr id="43" name="Picture 38" descr="http://www.sas.com/content/sascom/en_ca/software/fraud-security-intelligence/_jcr_content/par/tabwrapper_a546/tabwrapperpar/tab_41b9/tabpar/styledcontainer_fa4d/par/image_4faf.img.png/1443108465246.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6163" y="1621501"/>
            <a:ext cx="909888" cy="75824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9" name="Group 48"/>
          <p:cNvGrpSpPr/>
          <p:nvPr/>
        </p:nvGrpSpPr>
        <p:grpSpPr>
          <a:xfrm>
            <a:off x="6124968" y="1086040"/>
            <a:ext cx="621000" cy="540000"/>
            <a:chOff x="5175940" y="1305855"/>
            <a:chExt cx="1323794" cy="1134308"/>
          </a:xfrm>
          <a:effectLst>
            <a:outerShdw blurRad="50800" dist="38100" dir="2700000" algn="tl" rotWithShape="0">
              <a:prstClr val="black">
                <a:alpha val="40000"/>
              </a:prstClr>
            </a:outerShdw>
          </a:effectLst>
        </p:grpSpPr>
        <p:pic>
          <p:nvPicPr>
            <p:cNvPr id="50" name="Picture 49"/>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75940" y="1305855"/>
              <a:ext cx="1267297" cy="1134308"/>
            </a:xfrm>
            <a:prstGeom prst="rect">
              <a:avLst/>
            </a:prstGeom>
          </p:spPr>
        </p:pic>
        <p:pic>
          <p:nvPicPr>
            <p:cNvPr id="51" name="Picture 50"/>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924937" y="1579738"/>
              <a:ext cx="574797" cy="520172"/>
            </a:xfrm>
            <a:prstGeom prst="rect">
              <a:avLst/>
            </a:prstGeom>
          </p:spPr>
        </p:pic>
      </p:grpSp>
      <p:grpSp>
        <p:nvGrpSpPr>
          <p:cNvPr id="52" name="Group 51"/>
          <p:cNvGrpSpPr/>
          <p:nvPr/>
        </p:nvGrpSpPr>
        <p:grpSpPr>
          <a:xfrm>
            <a:off x="8214793" y="1795931"/>
            <a:ext cx="702000" cy="580500"/>
            <a:chOff x="5513029" y="3377309"/>
            <a:chExt cx="1402239" cy="1127695"/>
          </a:xfrm>
        </p:grpSpPr>
        <p:pic>
          <p:nvPicPr>
            <p:cNvPr id="53" name="Picture 5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513029" y="3377309"/>
              <a:ext cx="1402239" cy="1127695"/>
            </a:xfrm>
            <a:prstGeom prst="rect">
              <a:avLst/>
            </a:prstGeom>
          </p:spPr>
        </p:pic>
        <p:pic>
          <p:nvPicPr>
            <p:cNvPr id="54" name="Picture 53"/>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614982" y="3390900"/>
              <a:ext cx="1168507" cy="945192"/>
            </a:xfrm>
            <a:prstGeom prst="rect">
              <a:avLst/>
            </a:prstGeom>
          </p:spPr>
        </p:pic>
      </p:grpSp>
      <p:pic>
        <p:nvPicPr>
          <p:cNvPr id="58" name="Picture 5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932287" y="1099182"/>
            <a:ext cx="594497" cy="540000"/>
          </a:xfrm>
          <a:prstGeom prst="rect">
            <a:avLst/>
          </a:prstGeom>
          <a:effectLst>
            <a:outerShdw blurRad="50800" dist="38100" dir="2700000" algn="tl" rotWithShape="0">
              <a:prstClr val="black">
                <a:alpha val="40000"/>
              </a:prstClr>
            </a:outerShdw>
          </a:effectLst>
        </p:spPr>
      </p:pic>
      <p:pic>
        <p:nvPicPr>
          <p:cNvPr id="59" name="Picture 58"/>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5723265" y="1813165"/>
            <a:ext cx="684880" cy="400194"/>
          </a:xfrm>
          <a:prstGeom prst="rect">
            <a:avLst/>
          </a:prstGeom>
          <a:ln>
            <a:solidFill>
              <a:srgbClr val="003E74"/>
            </a:solidFill>
          </a:ln>
          <a:effectLst>
            <a:outerShdw blurRad="50800" dist="38100" dir="2700000" algn="tl" rotWithShape="0">
              <a:prstClr val="black">
                <a:alpha val="40000"/>
              </a:prstClr>
            </a:outerShdw>
          </a:effectLst>
        </p:spPr>
      </p:pic>
      <p:grpSp>
        <p:nvGrpSpPr>
          <p:cNvPr id="60" name="Group 59"/>
          <p:cNvGrpSpPr/>
          <p:nvPr/>
        </p:nvGrpSpPr>
        <p:grpSpPr>
          <a:xfrm>
            <a:off x="8290514" y="1225012"/>
            <a:ext cx="267300" cy="243000"/>
            <a:chOff x="4028029" y="1768228"/>
            <a:chExt cx="356400" cy="324000"/>
          </a:xfrm>
        </p:grpSpPr>
        <p:sp>
          <p:nvSpPr>
            <p:cNvPr id="61" name="Oval 60"/>
            <p:cNvSpPr>
              <a:spLocks noChangeAspect="1"/>
            </p:cNvSpPr>
            <p:nvPr/>
          </p:nvSpPr>
          <p:spPr>
            <a:xfrm>
              <a:off x="4028029" y="1768228"/>
              <a:ext cx="356400" cy="324000"/>
            </a:xfrm>
            <a:prstGeom prst="ellipse">
              <a:avLst/>
            </a:prstGeom>
            <a:solidFill>
              <a:srgbClr val="003E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dirty="0">
                <a:solidFill>
                  <a:schemeClr val="accent1"/>
                </a:solidFill>
              </a:endParaRPr>
            </a:p>
          </p:txBody>
        </p:sp>
        <p:sp>
          <p:nvSpPr>
            <p:cNvPr id="62" name="Oval 61"/>
            <p:cNvSpPr>
              <a:spLocks noChangeAspect="1"/>
            </p:cNvSpPr>
            <p:nvPr/>
          </p:nvSpPr>
          <p:spPr>
            <a:xfrm>
              <a:off x="4081561" y="1802650"/>
              <a:ext cx="252000" cy="252000"/>
            </a:xfrm>
            <a:prstGeom prst="ellipse">
              <a:avLst/>
            </a:prstGeom>
            <a:gradFill flip="none" rotWithShape="1">
              <a:gsLst>
                <a:gs pos="0">
                  <a:schemeClr val="accent1">
                    <a:lumMod val="60000"/>
                    <a:lumOff val="40000"/>
                  </a:schemeClr>
                </a:gs>
                <a:gs pos="47000">
                  <a:schemeClr val="accent1">
                    <a:tint val="100000"/>
                    <a:shade val="90000"/>
                    <a:satMod val="140000"/>
                  </a:schemeClr>
                </a:gs>
                <a:gs pos="100000">
                  <a:schemeClr val="accent2">
                    <a:lumMod val="75000"/>
                  </a:schemeClr>
                </a:gs>
              </a:gsLst>
              <a:lin ang="5400000" scaled="1"/>
              <a:tileRect/>
            </a:gradFill>
            <a:ln/>
            <a:effectLst/>
            <a:scene3d>
              <a:camera prst="orthographicFront">
                <a:rot lat="0" lon="0" rev="0"/>
              </a:camera>
              <a:lightRig rig="balanced" dir="t">
                <a:rot lat="0" lon="0" rev="5100000"/>
              </a:lightRig>
            </a:scene3d>
            <a:sp3d contourW="6350">
              <a:contourClr>
                <a:schemeClr val="accent1">
                  <a:shade val="30000"/>
                  <a:satMod val="130000"/>
                </a:schemeClr>
              </a:contourClr>
            </a:sp3d>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solidFill>
                  <a:schemeClr val="accent1"/>
                </a:solidFill>
              </a:endParaRPr>
            </a:p>
          </p:txBody>
        </p:sp>
      </p:grpSp>
      <p:sp>
        <p:nvSpPr>
          <p:cNvPr id="63" name="TextBox 62"/>
          <p:cNvSpPr txBox="1"/>
          <p:nvPr/>
        </p:nvSpPr>
        <p:spPr>
          <a:xfrm>
            <a:off x="8235273" y="1204349"/>
            <a:ext cx="397451" cy="276999"/>
          </a:xfrm>
          <a:prstGeom prst="rect">
            <a:avLst/>
          </a:prstGeom>
          <a:noFill/>
        </p:spPr>
        <p:txBody>
          <a:bodyPr wrap="square" rtlCol="0">
            <a:spAutoFit/>
          </a:bodyPr>
          <a:lstStyle/>
          <a:p>
            <a:pPr algn="ctr"/>
            <a:r>
              <a:rPr lang="en-GB" sz="1200" b="1" dirty="0">
                <a:solidFill>
                  <a:schemeClr val="bg1"/>
                </a:solidFill>
              </a:rPr>
              <a:t>?</a:t>
            </a:r>
          </a:p>
        </p:txBody>
      </p:sp>
      <p:sp>
        <p:nvSpPr>
          <p:cNvPr id="72" name="Rectangle 71"/>
          <p:cNvSpPr/>
          <p:nvPr/>
        </p:nvSpPr>
        <p:spPr>
          <a:xfrm>
            <a:off x="2046775" y="1236765"/>
            <a:ext cx="3209431" cy="936455"/>
          </a:xfrm>
          <a:prstGeom prst="rect">
            <a:avLst/>
          </a:prstGeom>
          <a:solidFill>
            <a:srgbClr val="003E74">
              <a:alpha val="0"/>
            </a:srgbClr>
          </a:solidFill>
          <a:ln w="15875">
            <a:solidFill>
              <a:schemeClr val="accent1"/>
            </a:solidFill>
          </a:ln>
          <a:effectLst>
            <a:glow>
              <a:schemeClr val="accent1"/>
            </a:glo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endParaRPr lang="en-US" sz="825" b="1" dirty="0">
              <a:solidFill>
                <a:srgbClr val="00539B">
                  <a:lumMod val="75000"/>
                </a:srgbClr>
              </a:solidFill>
            </a:endParaRPr>
          </a:p>
        </p:txBody>
      </p:sp>
      <p:sp>
        <p:nvSpPr>
          <p:cNvPr id="73" name="Rectangle 72"/>
          <p:cNvSpPr/>
          <p:nvPr/>
        </p:nvSpPr>
        <p:spPr>
          <a:xfrm>
            <a:off x="1963701" y="1276424"/>
            <a:ext cx="829930" cy="346249"/>
          </a:xfrm>
          <a:prstGeom prst="rect">
            <a:avLst/>
          </a:prstGeom>
        </p:spPr>
        <p:txBody>
          <a:bodyPr wrap="square">
            <a:spAutoFit/>
          </a:bodyPr>
          <a:lstStyle/>
          <a:p>
            <a:pPr algn="ctr" defTabSz="274313"/>
            <a:r>
              <a:rPr lang="en-GB" sz="825" b="1" dirty="0">
                <a:solidFill>
                  <a:srgbClr val="003E74"/>
                </a:solidFill>
              </a:rPr>
              <a:t>Diagnostics &amp; patterns</a:t>
            </a:r>
          </a:p>
        </p:txBody>
      </p:sp>
      <p:grpSp>
        <p:nvGrpSpPr>
          <p:cNvPr id="74" name="Group 73"/>
          <p:cNvGrpSpPr/>
          <p:nvPr/>
        </p:nvGrpSpPr>
        <p:grpSpPr>
          <a:xfrm>
            <a:off x="2079360" y="1669075"/>
            <a:ext cx="495736" cy="454967"/>
            <a:chOff x="6303438" y="1596966"/>
            <a:chExt cx="672459" cy="616841"/>
          </a:xfrm>
        </p:grpSpPr>
        <p:pic>
          <p:nvPicPr>
            <p:cNvPr id="75" name="Picture 74"/>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303438" y="1687153"/>
              <a:ext cx="437461" cy="416675"/>
            </a:xfrm>
            <a:prstGeom prst="rect">
              <a:avLst/>
            </a:prstGeom>
          </p:spPr>
        </p:pic>
        <p:pic>
          <p:nvPicPr>
            <p:cNvPr id="76" name="Picture 75"/>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6654979" y="1926104"/>
              <a:ext cx="302057" cy="287703"/>
            </a:xfrm>
            <a:prstGeom prst="rect">
              <a:avLst/>
            </a:prstGeom>
          </p:spPr>
        </p:pic>
        <p:pic>
          <p:nvPicPr>
            <p:cNvPr id="77" name="Picture 7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6673840" y="1596966"/>
              <a:ext cx="302057" cy="287703"/>
            </a:xfrm>
            <a:prstGeom prst="rect">
              <a:avLst/>
            </a:prstGeom>
          </p:spPr>
        </p:pic>
      </p:grpSp>
      <p:pic>
        <p:nvPicPr>
          <p:cNvPr id="78" name="Picture 42" descr="http://rhoatea.com/wp-content/uploads/2015/07/Graph-Icon.gif"/>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423847" y="1708704"/>
            <a:ext cx="408060" cy="408060"/>
          </a:xfrm>
          <a:prstGeom prst="rect">
            <a:avLst/>
          </a:prstGeom>
          <a:noFill/>
          <a:extLst>
            <a:ext uri="{909E8E84-426E-40dd-AFC4-6F175D3DCCD1}">
              <a14:hiddenFill xmlns="" xmlns:a14="http://schemas.microsoft.com/office/drawing/2010/main">
                <a:solidFill>
                  <a:srgbClr val="FFFFFF"/>
                </a:solidFill>
              </a14:hiddenFill>
            </a:ext>
          </a:extLst>
        </p:spPr>
      </p:pic>
      <p:pic>
        <p:nvPicPr>
          <p:cNvPr id="79" name="Picture 4" descr="Filter.pn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4111046" y="1659618"/>
            <a:ext cx="294424" cy="462897"/>
          </a:xfrm>
          <a:prstGeom prst="rect">
            <a:avLst/>
          </a:prstGeom>
          <a:noFill/>
          <a:ln w="9525">
            <a:noFill/>
            <a:miter lim="800000"/>
            <a:headEnd/>
            <a:tailEnd/>
          </a:ln>
        </p:spPr>
      </p:pic>
      <p:grpSp>
        <p:nvGrpSpPr>
          <p:cNvPr id="80" name="Group 79"/>
          <p:cNvGrpSpPr/>
          <p:nvPr/>
        </p:nvGrpSpPr>
        <p:grpSpPr>
          <a:xfrm>
            <a:off x="4627523" y="1668663"/>
            <a:ext cx="540000" cy="476562"/>
            <a:chOff x="1639605" y="815084"/>
            <a:chExt cx="988853" cy="1018162"/>
          </a:xfrm>
        </p:grpSpPr>
        <p:cxnSp>
          <p:nvCxnSpPr>
            <p:cNvPr id="81" name="Straight Connector 80"/>
            <p:cNvCxnSpPr>
              <a:stCxn id="95" idx="6"/>
              <a:endCxn id="93" idx="0"/>
            </p:cNvCxnSpPr>
            <p:nvPr/>
          </p:nvCxnSpPr>
          <p:spPr>
            <a:xfrm>
              <a:off x="1888814" y="1301217"/>
              <a:ext cx="247739"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a:stCxn id="93" idx="0"/>
              <a:endCxn id="89" idx="2"/>
            </p:cNvCxnSpPr>
            <p:nvPr/>
          </p:nvCxnSpPr>
          <p:spPr>
            <a:xfrm flipV="1">
              <a:off x="2136553" y="1301217"/>
              <a:ext cx="242696"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a:stCxn id="91" idx="4"/>
              <a:endCxn id="89" idx="2"/>
            </p:cNvCxnSpPr>
            <p:nvPr/>
          </p:nvCxnSpPr>
          <p:spPr>
            <a:xfrm>
              <a:off x="2144375" y="1064033"/>
              <a:ext cx="234874"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a:stCxn id="91" idx="4"/>
              <a:endCxn id="95" idx="6"/>
            </p:cNvCxnSpPr>
            <p:nvPr/>
          </p:nvCxnSpPr>
          <p:spPr>
            <a:xfrm flipH="1">
              <a:off x="1888814" y="1064033"/>
              <a:ext cx="255561"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grpSp>
          <p:nvGrpSpPr>
            <p:cNvPr id="85" name="Group 84"/>
            <p:cNvGrpSpPr/>
            <p:nvPr/>
          </p:nvGrpSpPr>
          <p:grpSpPr>
            <a:xfrm>
              <a:off x="1639605" y="1176742"/>
              <a:ext cx="249209" cy="248949"/>
              <a:chOff x="1639605" y="1176742"/>
              <a:chExt cx="249209" cy="248949"/>
            </a:xfrm>
          </p:grpSpPr>
          <p:sp>
            <p:nvSpPr>
              <p:cNvPr id="95" name="Oval 94"/>
              <p:cNvSpPr>
                <a:spLocks noChangeAspect="1"/>
              </p:cNvSpPr>
              <p:nvPr/>
            </p:nvSpPr>
            <p:spPr>
              <a:xfrm>
                <a:off x="1639605"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96" name="Picture 95"/>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1688138" y="1188719"/>
                <a:ext cx="145792" cy="181615"/>
              </a:xfrm>
              <a:prstGeom prst="rect">
                <a:avLst/>
              </a:prstGeom>
            </p:spPr>
          </p:pic>
        </p:grpSp>
        <p:grpSp>
          <p:nvGrpSpPr>
            <p:cNvPr id="86" name="Group 85"/>
            <p:cNvGrpSpPr/>
            <p:nvPr/>
          </p:nvGrpSpPr>
          <p:grpSpPr>
            <a:xfrm>
              <a:off x="2012290" y="1584979"/>
              <a:ext cx="248526" cy="248267"/>
              <a:chOff x="2012290" y="1584979"/>
              <a:chExt cx="248526" cy="248267"/>
            </a:xfrm>
          </p:grpSpPr>
          <p:sp>
            <p:nvSpPr>
              <p:cNvPr id="93" name="Oval 92"/>
              <p:cNvSpPr>
                <a:spLocks noChangeAspect="1"/>
              </p:cNvSpPr>
              <p:nvPr/>
            </p:nvSpPr>
            <p:spPr>
              <a:xfrm>
                <a:off x="2012290" y="1584979"/>
                <a:ext cx="248526" cy="248267"/>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lnSpcReduction="10000"/>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94" name="Picture 9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064343" y="1615321"/>
                <a:ext cx="143380" cy="181829"/>
              </a:xfrm>
              <a:prstGeom prst="rect">
                <a:avLst/>
              </a:prstGeom>
              <a:ln w="25400">
                <a:noFill/>
              </a:ln>
            </p:spPr>
          </p:pic>
        </p:grpSp>
        <p:grpSp>
          <p:nvGrpSpPr>
            <p:cNvPr id="87" name="Group 86"/>
            <p:cNvGrpSpPr/>
            <p:nvPr/>
          </p:nvGrpSpPr>
          <p:grpSpPr>
            <a:xfrm>
              <a:off x="2019770" y="815084"/>
              <a:ext cx="249209" cy="248949"/>
              <a:chOff x="2019770" y="815084"/>
              <a:chExt cx="249209" cy="248949"/>
            </a:xfrm>
          </p:grpSpPr>
          <p:sp>
            <p:nvSpPr>
              <p:cNvPr id="91" name="Oval 90"/>
              <p:cNvSpPr>
                <a:spLocks noChangeAspect="1"/>
              </p:cNvSpPr>
              <p:nvPr/>
            </p:nvSpPr>
            <p:spPr>
              <a:xfrm>
                <a:off x="2019770" y="815084"/>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92" name="Picture 9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073200" y="824561"/>
                <a:ext cx="142348" cy="181535"/>
              </a:xfrm>
              <a:prstGeom prst="rect">
                <a:avLst/>
              </a:prstGeom>
            </p:spPr>
          </p:pic>
        </p:grpSp>
        <p:grpSp>
          <p:nvGrpSpPr>
            <p:cNvPr id="88" name="Group 87"/>
            <p:cNvGrpSpPr/>
            <p:nvPr/>
          </p:nvGrpSpPr>
          <p:grpSpPr>
            <a:xfrm>
              <a:off x="2379249" y="1176742"/>
              <a:ext cx="249209" cy="248949"/>
              <a:chOff x="2379249" y="1176742"/>
              <a:chExt cx="249209" cy="248949"/>
            </a:xfrm>
          </p:grpSpPr>
          <p:sp>
            <p:nvSpPr>
              <p:cNvPr id="89" name="Oval 88"/>
              <p:cNvSpPr>
                <a:spLocks noChangeAspect="1"/>
              </p:cNvSpPr>
              <p:nvPr/>
            </p:nvSpPr>
            <p:spPr>
              <a:xfrm>
                <a:off x="2379249"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90" name="Picture 89"/>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2427092" y="1200632"/>
                <a:ext cx="153523" cy="201168"/>
              </a:xfrm>
              <a:prstGeom prst="rect">
                <a:avLst/>
              </a:prstGeom>
            </p:spPr>
          </p:pic>
        </p:grpSp>
      </p:grpSp>
      <p:sp>
        <p:nvSpPr>
          <p:cNvPr id="97" name="Rectangle 96"/>
          <p:cNvSpPr/>
          <p:nvPr/>
        </p:nvSpPr>
        <p:spPr>
          <a:xfrm>
            <a:off x="3244393" y="1279424"/>
            <a:ext cx="770023" cy="346249"/>
          </a:xfrm>
          <a:prstGeom prst="rect">
            <a:avLst/>
          </a:prstGeom>
        </p:spPr>
        <p:txBody>
          <a:bodyPr wrap="square">
            <a:spAutoFit/>
          </a:bodyPr>
          <a:lstStyle/>
          <a:p>
            <a:pPr algn="ctr" defTabSz="274313"/>
            <a:r>
              <a:rPr lang="en-GB" sz="825" b="1" dirty="0">
                <a:solidFill>
                  <a:srgbClr val="003E74"/>
                </a:solidFill>
              </a:rPr>
              <a:t>Predictive modelling</a:t>
            </a:r>
          </a:p>
        </p:txBody>
      </p:sp>
      <p:sp>
        <p:nvSpPr>
          <p:cNvPr id="98" name="Rectangle 97"/>
          <p:cNvSpPr/>
          <p:nvPr/>
        </p:nvSpPr>
        <p:spPr>
          <a:xfrm>
            <a:off x="2613638" y="1279424"/>
            <a:ext cx="770023" cy="346249"/>
          </a:xfrm>
          <a:prstGeom prst="rect">
            <a:avLst/>
          </a:prstGeom>
        </p:spPr>
        <p:txBody>
          <a:bodyPr wrap="square">
            <a:spAutoFit/>
          </a:bodyPr>
          <a:lstStyle/>
          <a:p>
            <a:pPr algn="ctr" defTabSz="274313"/>
            <a:r>
              <a:rPr lang="en-GB" sz="825" b="1" dirty="0">
                <a:solidFill>
                  <a:srgbClr val="003E74"/>
                </a:solidFill>
              </a:rPr>
              <a:t>Establishing baselines</a:t>
            </a:r>
          </a:p>
        </p:txBody>
      </p:sp>
      <p:sp>
        <p:nvSpPr>
          <p:cNvPr id="99" name="Rectangle 98"/>
          <p:cNvSpPr/>
          <p:nvPr/>
        </p:nvSpPr>
        <p:spPr>
          <a:xfrm>
            <a:off x="3875148" y="1279424"/>
            <a:ext cx="770023" cy="346249"/>
          </a:xfrm>
          <a:prstGeom prst="rect">
            <a:avLst/>
          </a:prstGeom>
        </p:spPr>
        <p:txBody>
          <a:bodyPr wrap="square">
            <a:spAutoFit/>
          </a:bodyPr>
          <a:lstStyle/>
          <a:p>
            <a:pPr algn="ctr" defTabSz="274313"/>
            <a:r>
              <a:rPr lang="en-GB" sz="825" b="1" dirty="0">
                <a:solidFill>
                  <a:srgbClr val="003E74"/>
                </a:solidFill>
              </a:rPr>
              <a:t>Anomaly detection</a:t>
            </a:r>
          </a:p>
        </p:txBody>
      </p:sp>
      <p:sp>
        <p:nvSpPr>
          <p:cNvPr id="100" name="Rectangle 99"/>
          <p:cNvSpPr/>
          <p:nvPr/>
        </p:nvSpPr>
        <p:spPr>
          <a:xfrm>
            <a:off x="4482375" y="1262824"/>
            <a:ext cx="770023" cy="346249"/>
          </a:xfrm>
          <a:prstGeom prst="rect">
            <a:avLst/>
          </a:prstGeom>
        </p:spPr>
        <p:txBody>
          <a:bodyPr wrap="square">
            <a:spAutoFit/>
          </a:bodyPr>
          <a:lstStyle/>
          <a:p>
            <a:pPr algn="ctr" defTabSz="274313"/>
            <a:r>
              <a:rPr lang="en-GB" sz="825" b="1" dirty="0">
                <a:solidFill>
                  <a:srgbClr val="003E74"/>
                </a:solidFill>
              </a:rPr>
              <a:t>Behavioral</a:t>
            </a:r>
          </a:p>
          <a:p>
            <a:pPr algn="ctr" defTabSz="274313"/>
            <a:r>
              <a:rPr lang="en-GB" sz="825" b="1" dirty="0">
                <a:solidFill>
                  <a:srgbClr val="003E74"/>
                </a:solidFill>
              </a:rPr>
              <a:t>insights</a:t>
            </a:r>
          </a:p>
        </p:txBody>
      </p:sp>
      <p:grpSp>
        <p:nvGrpSpPr>
          <p:cNvPr id="101" name="Group 66"/>
          <p:cNvGrpSpPr>
            <a:grpSpLocks/>
          </p:cNvGrpSpPr>
          <p:nvPr/>
        </p:nvGrpSpPr>
        <p:grpSpPr bwMode="auto">
          <a:xfrm>
            <a:off x="2657158" y="1700983"/>
            <a:ext cx="568070" cy="352285"/>
            <a:chOff x="1681130" y="3231994"/>
            <a:chExt cx="971585" cy="658594"/>
          </a:xfrm>
        </p:grpSpPr>
        <p:pic>
          <p:nvPicPr>
            <p:cNvPr id="102" name="Picture 101" descr="Dataset.png"/>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2147290" y="3232093"/>
              <a:ext cx="504755" cy="565074"/>
            </a:xfrm>
            <a:prstGeom prst="rect">
              <a:avLst/>
            </a:prstGeom>
            <a:effectLst>
              <a:outerShdw blurRad="50800" dist="38100" dir="5400000" algn="t" rotWithShape="0">
                <a:prstClr val="black">
                  <a:alpha val="40000"/>
                </a:prstClr>
              </a:outerShdw>
            </a:effectLst>
          </p:spPr>
        </p:pic>
        <p:pic>
          <p:nvPicPr>
            <p:cNvPr id="103" name="Picture 28" descr="Magnifying-Glass.png"/>
            <p:cNvPicPr>
              <a:picLocks noChangeAspect="1"/>
            </p:cNvPicPr>
            <p:nvPr/>
          </p:nvPicPr>
          <p:blipFill>
            <a:blip r:embed="rId22" cstate="screen">
              <a:extLst>
                <a:ext uri="{28A0092B-C50C-407E-A947-70E740481C1C}">
                  <a14:useLocalDpi xmlns:a14="http://schemas.microsoft.com/office/drawing/2010/main" val="0"/>
                </a:ext>
              </a:extLst>
            </a:blip>
            <a:srcRect/>
            <a:stretch>
              <a:fillRect/>
            </a:stretch>
          </p:blipFill>
          <p:spPr bwMode="auto">
            <a:xfrm rot="3965089">
              <a:off x="1880899" y="3247769"/>
              <a:ext cx="443050" cy="842587"/>
            </a:xfrm>
            <a:prstGeom prst="rect">
              <a:avLst/>
            </a:prstGeom>
            <a:noFill/>
            <a:ln w="9525">
              <a:noFill/>
              <a:miter lim="800000"/>
              <a:headEnd/>
              <a:tailEnd/>
            </a:ln>
          </p:spPr>
        </p:pic>
      </p:grpSp>
      <p:sp>
        <p:nvSpPr>
          <p:cNvPr id="113" name="Rectangle 112"/>
          <p:cNvSpPr/>
          <p:nvPr/>
        </p:nvSpPr>
        <p:spPr>
          <a:xfrm>
            <a:off x="150866" y="3127107"/>
            <a:ext cx="8839182" cy="1066471"/>
          </a:xfrm>
          <a:prstGeom prst="rect">
            <a:avLst/>
          </a:prstGeom>
          <a:gradFill flip="none" rotWithShape="1">
            <a:gsLst>
              <a:gs pos="50000">
                <a:srgbClr val="D4E5F4"/>
              </a:gs>
              <a:gs pos="0">
                <a:srgbClr val="81B2DE"/>
              </a:gs>
              <a:gs pos="99583">
                <a:srgbClr val="7DAFDD"/>
              </a:gs>
              <a:gs pos="20000">
                <a:srgbClr val="9BC2E5"/>
              </a:gs>
              <a:gs pos="83000">
                <a:srgbClr val="93BDE3"/>
              </a:gs>
            </a:gsLst>
            <a:lin ang="5400000" scaled="0"/>
            <a:tileRect/>
          </a:gradFill>
          <a:ln w="15875">
            <a:solidFill>
              <a:schemeClr val="accent1"/>
            </a:solidFill>
          </a:ln>
          <a:effectLst>
            <a:glow>
              <a:schemeClr val="accent1"/>
            </a:glow>
            <a:outerShdw blurRad="50800" dist="38100" dir="2700000" algn="tl" rotWithShape="0">
              <a:prstClr val="black">
                <a:alpha val="40000"/>
              </a:prstClr>
            </a:outerShdw>
          </a:effectLst>
          <a:scene3d>
            <a:camera prst="orthographicFront"/>
            <a:lightRig rig="soft" dir="t"/>
          </a:scene3d>
          <a:sp3d extrusionH="76200" prstMaterial="powder">
            <a:extrusionClr>
              <a:schemeClr val="accent2">
                <a:lumMod val="40000"/>
                <a:lumOff val="60000"/>
              </a:schemeClr>
            </a:extrusionClr>
            <a:contourClr>
              <a:schemeClr val="accent4"/>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274313"/>
            <a:endParaRPr lang="en-US" sz="825" b="1" dirty="0">
              <a:solidFill>
                <a:srgbClr val="00539B">
                  <a:lumMod val="75000"/>
                </a:srgbClr>
              </a:solidFill>
            </a:endParaRPr>
          </a:p>
        </p:txBody>
      </p:sp>
      <p:grpSp>
        <p:nvGrpSpPr>
          <p:cNvPr id="111" name="Group 110"/>
          <p:cNvGrpSpPr/>
          <p:nvPr/>
        </p:nvGrpSpPr>
        <p:grpSpPr>
          <a:xfrm>
            <a:off x="7601450" y="2982882"/>
            <a:ext cx="1143455" cy="1232202"/>
            <a:chOff x="5913960" y="644838"/>
            <a:chExt cx="1267752" cy="1347016"/>
          </a:xfrm>
          <a:effectLst>
            <a:outerShdw blurRad="63500" sx="102000" sy="102000" algn="ctr" rotWithShape="0">
              <a:prstClr val="black">
                <a:alpha val="40000"/>
              </a:prstClr>
            </a:outerShdw>
          </a:effectLst>
        </p:grpSpPr>
        <p:pic>
          <p:nvPicPr>
            <p:cNvPr id="112" name="Picture 111"/>
            <p:cNvPicPr>
              <a:picLocks noChangeAspect="1"/>
            </p:cNvPicPr>
            <p:nvPr/>
          </p:nvPicPr>
          <p:blipFill>
            <a:blip r:embed="rId23" cstate="screen">
              <a:extLst>
                <a:ext uri="{28A0092B-C50C-407E-A947-70E740481C1C}">
                  <a14:useLocalDpi xmlns:a14="http://schemas.microsoft.com/office/drawing/2010/main" val="0"/>
                </a:ext>
              </a:extLst>
            </a:blip>
            <a:stretch>
              <a:fillRect/>
            </a:stretch>
          </p:blipFill>
          <p:spPr>
            <a:xfrm>
              <a:off x="5913960" y="644838"/>
              <a:ext cx="1267752" cy="1317631"/>
            </a:xfrm>
            <a:prstGeom prst="rect">
              <a:avLst/>
            </a:prstGeom>
          </p:spPr>
        </p:pic>
        <p:sp>
          <p:nvSpPr>
            <p:cNvPr id="114" name="TextBox 113"/>
            <p:cNvSpPr txBox="1"/>
            <p:nvPr/>
          </p:nvSpPr>
          <p:spPr>
            <a:xfrm>
              <a:off x="6031033" y="1756335"/>
              <a:ext cx="1076324" cy="235519"/>
            </a:xfrm>
            <a:prstGeom prst="rect">
              <a:avLst/>
            </a:prstGeom>
            <a:noFill/>
          </p:spPr>
          <p:txBody>
            <a:bodyPr wrap="square" rtlCol="0">
              <a:spAutoFit/>
            </a:bodyPr>
            <a:lstStyle/>
            <a:p>
              <a:pPr algn="ctr" defTabSz="365751"/>
              <a:r>
                <a:rPr lang="en-US" sz="800" b="1" dirty="0">
                  <a:solidFill>
                    <a:schemeClr val="bg1"/>
                  </a:solidFill>
                </a:rPr>
                <a:t>INVESTIGATOR</a:t>
              </a:r>
            </a:p>
          </p:txBody>
        </p:sp>
      </p:grpSp>
      <p:grpSp>
        <p:nvGrpSpPr>
          <p:cNvPr id="116" name="Group 115"/>
          <p:cNvGrpSpPr/>
          <p:nvPr/>
        </p:nvGrpSpPr>
        <p:grpSpPr>
          <a:xfrm>
            <a:off x="2941339" y="2981158"/>
            <a:ext cx="1090620" cy="1291351"/>
            <a:chOff x="3938124" y="1912935"/>
            <a:chExt cx="1267752" cy="1381045"/>
          </a:xfrm>
          <a:effectLst>
            <a:outerShdw blurRad="63500" sx="102000" sy="102000" algn="ctr" rotWithShape="0">
              <a:prstClr val="black">
                <a:alpha val="40000"/>
              </a:prstClr>
            </a:outerShdw>
          </a:effectLst>
        </p:grpSpPr>
        <p:pic>
          <p:nvPicPr>
            <p:cNvPr id="117" name="Picture 11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3938124" y="1912935"/>
              <a:ext cx="1267752" cy="1317631"/>
            </a:xfrm>
            <a:prstGeom prst="rect">
              <a:avLst/>
            </a:prstGeom>
          </p:spPr>
        </p:pic>
        <p:sp>
          <p:nvSpPr>
            <p:cNvPr id="118" name="TextBox 117"/>
            <p:cNvSpPr txBox="1"/>
            <p:nvPr/>
          </p:nvSpPr>
          <p:spPr>
            <a:xfrm>
              <a:off x="4062866" y="2996408"/>
              <a:ext cx="1076325" cy="297572"/>
            </a:xfrm>
            <a:prstGeom prst="rect">
              <a:avLst/>
            </a:prstGeom>
            <a:noFill/>
          </p:spPr>
          <p:txBody>
            <a:bodyPr wrap="square" lIns="45720" rIns="45720" rtlCol="0" anchor="ctr">
              <a:spAutoFit/>
            </a:bodyPr>
            <a:lstStyle/>
            <a:p>
              <a:pPr algn="ctr" defTabSz="365751"/>
              <a:r>
                <a:rPr lang="en-US" sz="1050" b="1" dirty="0">
                  <a:solidFill>
                    <a:schemeClr val="bg1"/>
                  </a:solidFill>
                </a:rPr>
                <a:t>Scientist</a:t>
              </a:r>
            </a:p>
          </p:txBody>
        </p:sp>
      </p:grpSp>
      <p:grpSp>
        <p:nvGrpSpPr>
          <p:cNvPr id="119" name="Group 118"/>
          <p:cNvGrpSpPr/>
          <p:nvPr/>
        </p:nvGrpSpPr>
        <p:grpSpPr>
          <a:xfrm>
            <a:off x="5847662" y="2962937"/>
            <a:ext cx="1109671" cy="1299788"/>
            <a:chOff x="7071075" y="2588153"/>
            <a:chExt cx="1267752" cy="1343876"/>
          </a:xfrm>
          <a:effectLst>
            <a:outerShdw blurRad="63500" sx="102000" sy="102000" algn="ctr" rotWithShape="0">
              <a:prstClr val="black">
                <a:alpha val="40000"/>
              </a:prstClr>
            </a:outerShdw>
          </a:effectLst>
        </p:grpSpPr>
        <p:pic>
          <p:nvPicPr>
            <p:cNvPr id="121" name="Picture 120"/>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7071075" y="2588153"/>
              <a:ext cx="1267752" cy="1317631"/>
            </a:xfrm>
            <a:prstGeom prst="rect">
              <a:avLst/>
            </a:prstGeom>
          </p:spPr>
        </p:pic>
        <p:sp>
          <p:nvSpPr>
            <p:cNvPr id="122" name="TextBox 121"/>
            <p:cNvSpPr txBox="1"/>
            <p:nvPr/>
          </p:nvSpPr>
          <p:spPr>
            <a:xfrm>
              <a:off x="7186862" y="3693367"/>
              <a:ext cx="1129824" cy="238662"/>
            </a:xfrm>
            <a:prstGeom prst="rect">
              <a:avLst/>
            </a:prstGeom>
            <a:noFill/>
          </p:spPr>
          <p:txBody>
            <a:bodyPr wrap="square" rtlCol="0">
              <a:spAutoFit/>
            </a:bodyPr>
            <a:lstStyle/>
            <a:p>
              <a:pPr algn="ctr" defTabSz="365751"/>
              <a:r>
                <a:rPr lang="en-US" sz="900" b="1" dirty="0">
                  <a:solidFill>
                    <a:schemeClr val="bg1"/>
                  </a:solidFill>
                </a:rPr>
                <a:t>CASE MGMT</a:t>
              </a:r>
            </a:p>
          </p:txBody>
        </p:sp>
      </p:grpSp>
      <p:grpSp>
        <p:nvGrpSpPr>
          <p:cNvPr id="128" name="Group 127"/>
          <p:cNvGrpSpPr/>
          <p:nvPr/>
        </p:nvGrpSpPr>
        <p:grpSpPr>
          <a:xfrm>
            <a:off x="414201" y="2965763"/>
            <a:ext cx="1042660" cy="1274959"/>
            <a:chOff x="1969362" y="747177"/>
            <a:chExt cx="1267752" cy="1469048"/>
          </a:xfrm>
          <a:effectLst>
            <a:outerShdw blurRad="63500" sx="102000" sy="102000" algn="ctr" rotWithShape="0">
              <a:prstClr val="black">
                <a:alpha val="40000"/>
              </a:prstClr>
            </a:outerShdw>
          </a:effectLst>
        </p:grpSpPr>
        <p:pic>
          <p:nvPicPr>
            <p:cNvPr id="129" name="Picture 128"/>
            <p:cNvPicPr>
              <a:picLocks noChangeAspect="1"/>
            </p:cNvPicPr>
            <p:nvPr/>
          </p:nvPicPr>
          <p:blipFill>
            <a:blip r:embed="rId26" cstate="screen">
              <a:extLst>
                <a:ext uri="{28A0092B-C50C-407E-A947-70E740481C1C}">
                  <a14:useLocalDpi xmlns:a14="http://schemas.microsoft.com/office/drawing/2010/main" val="0"/>
                </a:ext>
              </a:extLst>
            </a:blip>
            <a:stretch>
              <a:fillRect/>
            </a:stretch>
          </p:blipFill>
          <p:spPr>
            <a:xfrm>
              <a:off x="1969362" y="747177"/>
              <a:ext cx="1267752" cy="1292691"/>
            </a:xfrm>
            <a:prstGeom prst="rect">
              <a:avLst/>
            </a:prstGeom>
          </p:spPr>
        </p:pic>
        <p:sp>
          <p:nvSpPr>
            <p:cNvPr id="130" name="TextBox 129"/>
            <p:cNvSpPr txBox="1"/>
            <p:nvPr/>
          </p:nvSpPr>
          <p:spPr>
            <a:xfrm>
              <a:off x="2050105" y="1826133"/>
              <a:ext cx="1109609" cy="390092"/>
            </a:xfrm>
            <a:prstGeom prst="rect">
              <a:avLst/>
            </a:prstGeom>
            <a:noFill/>
          </p:spPr>
          <p:txBody>
            <a:bodyPr wrap="square" rtlCol="0">
              <a:spAutoFit/>
            </a:bodyPr>
            <a:lstStyle/>
            <a:p>
              <a:pPr algn="ctr" defTabSz="365751"/>
              <a:r>
                <a:rPr lang="en-US" sz="800" b="1" dirty="0">
                  <a:solidFill>
                    <a:schemeClr val="bg1"/>
                  </a:solidFill>
                </a:rPr>
                <a:t>DATA </a:t>
              </a:r>
            </a:p>
            <a:p>
              <a:pPr algn="ctr" defTabSz="365751"/>
              <a:r>
                <a:rPr lang="en-US" sz="800" b="1" dirty="0">
                  <a:solidFill>
                    <a:schemeClr val="bg1"/>
                  </a:solidFill>
                </a:rPr>
                <a:t>ENGINEER</a:t>
              </a:r>
            </a:p>
          </p:txBody>
        </p:sp>
      </p:grpSp>
      <p:sp>
        <p:nvSpPr>
          <p:cNvPr id="3" name="Rectangle 2"/>
          <p:cNvSpPr/>
          <p:nvPr/>
        </p:nvSpPr>
        <p:spPr>
          <a:xfrm>
            <a:off x="466746" y="3888848"/>
            <a:ext cx="937571" cy="378856"/>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bg1"/>
                </a:solidFill>
              </a:rPr>
              <a:t>Data Engineer</a:t>
            </a:r>
            <a:endParaRPr lang="nl-NL" sz="1000" b="1" dirty="0">
              <a:solidFill>
                <a:schemeClr val="bg1"/>
              </a:solidFill>
            </a:endParaRPr>
          </a:p>
        </p:txBody>
      </p:sp>
      <p:sp>
        <p:nvSpPr>
          <p:cNvPr id="132" name="Rectangle 131"/>
          <p:cNvSpPr/>
          <p:nvPr/>
        </p:nvSpPr>
        <p:spPr>
          <a:xfrm>
            <a:off x="2993883" y="3988819"/>
            <a:ext cx="1029355" cy="3458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bg1"/>
                </a:solidFill>
              </a:rPr>
              <a:t>Data Scientist</a:t>
            </a:r>
            <a:endParaRPr lang="nl-NL" sz="1000" b="1" dirty="0">
              <a:solidFill>
                <a:schemeClr val="bg1"/>
              </a:solidFill>
            </a:endParaRPr>
          </a:p>
        </p:txBody>
      </p:sp>
      <p:sp>
        <p:nvSpPr>
          <p:cNvPr id="134" name="Rectangle 133"/>
          <p:cNvSpPr/>
          <p:nvPr/>
        </p:nvSpPr>
        <p:spPr>
          <a:xfrm>
            <a:off x="7676055" y="4030361"/>
            <a:ext cx="1068850" cy="345846"/>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err="1">
                <a:solidFill>
                  <a:schemeClr val="bg1"/>
                </a:solidFill>
              </a:rPr>
              <a:t>Infosec</a:t>
            </a:r>
            <a:r>
              <a:rPr lang="en-US" sz="1000" b="1" dirty="0">
                <a:solidFill>
                  <a:schemeClr val="bg1"/>
                </a:solidFill>
              </a:rPr>
              <a:t> Response</a:t>
            </a:r>
            <a:endParaRPr lang="nl-NL" sz="1000" b="1" dirty="0">
              <a:solidFill>
                <a:schemeClr val="bg1"/>
              </a:solidFill>
            </a:endParaRPr>
          </a:p>
        </p:txBody>
      </p:sp>
      <p:sp>
        <p:nvSpPr>
          <p:cNvPr id="135" name="Rectangle 134"/>
          <p:cNvSpPr/>
          <p:nvPr/>
        </p:nvSpPr>
        <p:spPr>
          <a:xfrm>
            <a:off x="5888483" y="4035219"/>
            <a:ext cx="1068850" cy="34584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bg1"/>
                </a:solidFill>
              </a:rPr>
              <a:t>Cyber Investigator</a:t>
            </a:r>
            <a:endParaRPr lang="nl-NL" sz="1000" b="1" dirty="0">
              <a:solidFill>
                <a:schemeClr val="bg1"/>
              </a:solidFill>
            </a:endParaRPr>
          </a:p>
        </p:txBody>
      </p:sp>
      <p:sp>
        <p:nvSpPr>
          <p:cNvPr id="104" name="Right Arrow 107">
            <a:extLst>
              <a:ext uri="{FF2B5EF4-FFF2-40B4-BE49-F238E27FC236}">
                <a16:creationId xmlns:a16="http://schemas.microsoft.com/office/drawing/2014/main" xmlns="" id="{0B3CFB20-2BB5-4191-A1C3-E54B8A3E9E5A}"/>
              </a:ext>
            </a:extLst>
          </p:cNvPr>
          <p:cNvSpPr/>
          <p:nvPr/>
        </p:nvSpPr>
        <p:spPr>
          <a:xfrm rot="10800000">
            <a:off x="1109576" y="4343199"/>
            <a:ext cx="7108656" cy="441188"/>
          </a:xfrm>
          <a:prstGeom prst="rightArrow">
            <a:avLst/>
          </a:prstGeom>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000" b="1" dirty="0">
              <a:solidFill>
                <a:schemeClr val="bg1">
                  <a:lumMod val="95000"/>
                </a:schemeClr>
              </a:solidFill>
              <a:effectLst>
                <a:outerShdw blurRad="38100" dist="38100" dir="2700000" algn="tl">
                  <a:srgbClr val="000000">
                    <a:alpha val="43137"/>
                  </a:srgbClr>
                </a:outerShdw>
              </a:effectLst>
            </a:endParaRPr>
          </a:p>
        </p:txBody>
      </p:sp>
      <p:sp>
        <p:nvSpPr>
          <p:cNvPr id="106" name="Right Arrow 65">
            <a:extLst>
              <a:ext uri="{FF2B5EF4-FFF2-40B4-BE49-F238E27FC236}">
                <a16:creationId xmlns:a16="http://schemas.microsoft.com/office/drawing/2014/main" xmlns="" id="{13632714-7AFA-4327-AF89-B6A4D5E928FE}"/>
              </a:ext>
            </a:extLst>
          </p:cNvPr>
          <p:cNvSpPr/>
          <p:nvPr/>
        </p:nvSpPr>
        <p:spPr>
          <a:xfrm>
            <a:off x="1109577" y="2485420"/>
            <a:ext cx="7139219" cy="441188"/>
          </a:xfrm>
          <a:prstGeom prst="rightArrow">
            <a:avLst/>
          </a:prstGeom>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GB" sz="1000" b="1" dirty="0">
                <a:solidFill>
                  <a:schemeClr val="bg1">
                    <a:lumMod val="95000"/>
                  </a:schemeClr>
                </a:solidFill>
                <a:effectLst>
                  <a:outerShdw blurRad="38100" dist="38100" dir="2700000" algn="tl">
                    <a:srgbClr val="000000">
                      <a:alpha val="43137"/>
                    </a:srgbClr>
                  </a:outerShdw>
                </a:effectLst>
              </a:rPr>
              <a:t>CYBER RISK ANALYTICS PROCESS</a:t>
            </a:r>
          </a:p>
        </p:txBody>
      </p:sp>
      <p:sp>
        <p:nvSpPr>
          <p:cNvPr id="107" name="TextBox 106">
            <a:extLst>
              <a:ext uri="{FF2B5EF4-FFF2-40B4-BE49-F238E27FC236}">
                <a16:creationId xmlns:a16="http://schemas.microsoft.com/office/drawing/2014/main" xmlns="" id="{4DEA522D-211A-49B6-B301-47799BFC7865}"/>
              </a:ext>
            </a:extLst>
          </p:cNvPr>
          <p:cNvSpPr txBox="1"/>
          <p:nvPr/>
        </p:nvSpPr>
        <p:spPr>
          <a:xfrm>
            <a:off x="3994191" y="4440523"/>
            <a:ext cx="1301959" cy="246221"/>
          </a:xfrm>
          <a:prstGeom prst="rect">
            <a:avLst/>
          </a:prstGeom>
          <a:noFill/>
        </p:spPr>
        <p:txBody>
          <a:bodyPr wrap="none" rtlCol="0">
            <a:spAutoFit/>
          </a:bodyPr>
          <a:lstStyle/>
          <a:p>
            <a:r>
              <a:rPr lang="en-US" sz="1000" b="1" dirty="0">
                <a:solidFill>
                  <a:schemeClr val="bg1"/>
                </a:solidFill>
                <a:effectLst>
                  <a:outerShdw blurRad="38100" dist="38100" dir="2700000" algn="tl">
                    <a:srgbClr val="000000">
                      <a:alpha val="43137"/>
                    </a:srgbClr>
                  </a:outerShdw>
                </a:effectLst>
              </a:rPr>
              <a:t>RECURSIVE FEEDBACK</a:t>
            </a:r>
            <a:endParaRPr lang="nl-NL" sz="1000" b="1" dirty="0">
              <a:solidFill>
                <a:schemeClr val="bg1"/>
              </a:solidFill>
              <a:effectLst>
                <a:outerShdw blurRad="38100" dist="38100" dir="2700000" algn="tl">
                  <a:srgbClr val="000000">
                    <a:alpha val="43137"/>
                  </a:srgbClr>
                </a:outerShdw>
              </a:effectLst>
            </a:endParaRPr>
          </a:p>
        </p:txBody>
      </p:sp>
      <p:sp>
        <p:nvSpPr>
          <p:cNvPr id="105" name="Title 1">
            <a:extLst>
              <a:ext uri="{FF2B5EF4-FFF2-40B4-BE49-F238E27FC236}">
                <a16:creationId xmlns:a16="http://schemas.microsoft.com/office/drawing/2014/main" xmlns="" id="{4FBF7638-7CC7-4169-8ED7-080D950C5947}"/>
              </a:ext>
            </a:extLst>
          </p:cNvPr>
          <p:cNvSpPr>
            <a:spLocks noGrp="1"/>
          </p:cNvSpPr>
          <p:nvPr>
            <p:ph type="title"/>
          </p:nvPr>
        </p:nvSpPr>
        <p:spPr>
          <a:xfrm>
            <a:off x="509698" y="110360"/>
            <a:ext cx="7891272" cy="457200"/>
          </a:xfrm>
        </p:spPr>
        <p:txBody>
          <a:bodyPr/>
          <a:lstStyle/>
          <a:p>
            <a:r>
              <a:rPr lang="en-US" b="1" u="sng" dirty="0"/>
              <a:t>Organization</a:t>
            </a:r>
            <a:r>
              <a:rPr lang="en-US" b="1" dirty="0"/>
              <a:t>:  Interdisciplinary Collaboration</a:t>
            </a:r>
          </a:p>
        </p:txBody>
      </p:sp>
    </p:spTree>
    <p:extLst>
      <p:ext uri="{BB962C8B-B14F-4D97-AF65-F5344CB8AC3E}">
        <p14:creationId xmlns:p14="http://schemas.microsoft.com/office/powerpoint/2010/main" val="42940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wipe(left)">
                                      <p:cBhvr>
                                        <p:cTn id="7" dur="500"/>
                                        <p:tgtEl>
                                          <p:spTgt spid="10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fade">
                                      <p:cBhvr>
                                        <p:cTn id="11" dur="500"/>
                                        <p:tgtEl>
                                          <p:spTgt spid="135"/>
                                        </p:tgtEl>
                                      </p:cBhvr>
                                    </p:animEffect>
                                  </p:childTnLst>
                                </p:cTn>
                              </p:par>
                              <p:par>
                                <p:cTn id="12" presetID="10" presetClass="entr" presetSubtype="0" fill="hold" nodeType="withEffect">
                                  <p:stCondLst>
                                    <p:cond delay="0"/>
                                  </p:stCondLst>
                                  <p:childTnLst>
                                    <p:set>
                                      <p:cBhvr>
                                        <p:cTn id="13" dur="1" fill="hold">
                                          <p:stCondLst>
                                            <p:cond delay="0"/>
                                          </p:stCondLst>
                                        </p:cTn>
                                        <p:tgtEl>
                                          <p:spTgt spid="119"/>
                                        </p:tgtEl>
                                        <p:attrNameLst>
                                          <p:attrName>style.visibility</p:attrName>
                                        </p:attrNameLst>
                                      </p:cBhvr>
                                      <p:to>
                                        <p:strVal val="visible"/>
                                      </p:to>
                                    </p:set>
                                    <p:animEffect transition="in" filter="fade">
                                      <p:cBhvr>
                                        <p:cTn id="14" dur="500"/>
                                        <p:tgtEl>
                                          <p:spTgt spid="119"/>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11"/>
                                        </p:tgtEl>
                                        <p:attrNameLst>
                                          <p:attrName>style.visibility</p:attrName>
                                        </p:attrNameLst>
                                      </p:cBhvr>
                                      <p:to>
                                        <p:strVal val="visible"/>
                                      </p:to>
                                    </p:set>
                                    <p:animEffect transition="in" filter="fade">
                                      <p:cBhvr>
                                        <p:cTn id="18" dur="500"/>
                                        <p:tgtEl>
                                          <p:spTgt spid="1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4"/>
                                        </p:tgtEl>
                                        <p:attrNameLst>
                                          <p:attrName>style.visibility</p:attrName>
                                        </p:attrNameLst>
                                      </p:cBhvr>
                                      <p:to>
                                        <p:strVal val="visible"/>
                                      </p:to>
                                    </p:set>
                                    <p:animEffect transition="in" filter="fade">
                                      <p:cBhvr>
                                        <p:cTn id="21" dur="500"/>
                                        <p:tgtEl>
                                          <p:spTgt spid="134"/>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nodeType="with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500"/>
                                        <p:tgtEl>
                                          <p:spTgt spid="59"/>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nodeType="with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500"/>
                                        <p:tgtEl>
                                          <p:spTgt spid="52"/>
                                        </p:tgtEl>
                                      </p:cBhvr>
                                    </p:animEffect>
                                  </p:childTnLst>
                                </p:cTn>
                              </p:par>
                              <p:par>
                                <p:cTn id="51" presetID="10" presetClass="entr" presetSubtype="0" fill="hold" nodeType="with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fade">
                                      <p:cBhvr>
                                        <p:cTn id="53" dur="500"/>
                                        <p:tgtEl>
                                          <p:spTgt spid="58"/>
                                        </p:tgtEl>
                                      </p:cBhvr>
                                    </p:animEffect>
                                  </p:childTnLst>
                                </p:cTn>
                              </p:par>
                              <p:par>
                                <p:cTn id="54" presetID="10" presetClass="entr" presetSubtype="0" fill="hold" nodeType="withEffect">
                                  <p:stCondLst>
                                    <p:cond delay="0"/>
                                  </p:stCondLst>
                                  <p:childTnLst>
                                    <p:set>
                                      <p:cBhvr>
                                        <p:cTn id="55" dur="1" fill="hold">
                                          <p:stCondLst>
                                            <p:cond delay="0"/>
                                          </p:stCondLst>
                                        </p:cTn>
                                        <p:tgtEl>
                                          <p:spTgt spid="60"/>
                                        </p:tgtEl>
                                        <p:attrNameLst>
                                          <p:attrName>style.visibility</p:attrName>
                                        </p:attrNameLst>
                                      </p:cBhvr>
                                      <p:to>
                                        <p:strVal val="visible"/>
                                      </p:to>
                                    </p:set>
                                    <p:animEffect transition="in" filter="fade">
                                      <p:cBhvr>
                                        <p:cTn id="56" dur="500"/>
                                        <p:tgtEl>
                                          <p:spTgt spid="6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fade">
                                      <p:cBhvr>
                                        <p:cTn id="59" dur="500"/>
                                        <p:tgtEl>
                                          <p:spTgt spid="6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116"/>
                                        </p:tgtEl>
                                        <p:attrNameLst>
                                          <p:attrName>style.visibility</p:attrName>
                                        </p:attrNameLst>
                                      </p:cBhvr>
                                      <p:to>
                                        <p:strVal val="visible"/>
                                      </p:to>
                                    </p:set>
                                    <p:animEffect transition="in" filter="fade">
                                      <p:cBhvr>
                                        <p:cTn id="64" dur="500"/>
                                        <p:tgtEl>
                                          <p:spTgt spid="11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2"/>
                                        </p:tgtEl>
                                        <p:attrNameLst>
                                          <p:attrName>style.visibility</p:attrName>
                                        </p:attrNameLst>
                                      </p:cBhvr>
                                      <p:to>
                                        <p:strVal val="visible"/>
                                      </p:to>
                                    </p:set>
                                    <p:animEffect transition="in" filter="fade">
                                      <p:cBhvr>
                                        <p:cTn id="67" dur="500"/>
                                        <p:tgtEl>
                                          <p:spTgt spid="132"/>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11"/>
                                        </p:tgtEl>
                                        <p:attrNameLst>
                                          <p:attrName>style.visibility</p:attrName>
                                        </p:attrNameLst>
                                      </p:cBhvr>
                                      <p:to>
                                        <p:strVal val="visible"/>
                                      </p:to>
                                    </p:set>
                                    <p:animEffect transition="in" filter="fade">
                                      <p:cBhvr>
                                        <p:cTn id="71" dur="500"/>
                                        <p:tgtEl>
                                          <p:spTgt spid="1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72"/>
                                        </p:tgtEl>
                                        <p:attrNameLst>
                                          <p:attrName>style.visibility</p:attrName>
                                        </p:attrNameLst>
                                      </p:cBhvr>
                                      <p:to>
                                        <p:strVal val="visible"/>
                                      </p:to>
                                    </p:set>
                                    <p:animEffect transition="in" filter="fade">
                                      <p:cBhvr>
                                        <p:cTn id="77" dur="500"/>
                                        <p:tgtEl>
                                          <p:spTgt spid="7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3"/>
                                        </p:tgtEl>
                                        <p:attrNameLst>
                                          <p:attrName>style.visibility</p:attrName>
                                        </p:attrNameLst>
                                      </p:cBhvr>
                                      <p:to>
                                        <p:strVal val="visible"/>
                                      </p:to>
                                    </p:set>
                                    <p:animEffect transition="in" filter="fade">
                                      <p:cBhvr>
                                        <p:cTn id="80" dur="500"/>
                                        <p:tgtEl>
                                          <p:spTgt spid="73"/>
                                        </p:tgtEl>
                                      </p:cBhvr>
                                    </p:animEffect>
                                  </p:childTnLst>
                                </p:cTn>
                              </p:par>
                              <p:par>
                                <p:cTn id="81" presetID="10" presetClass="entr" presetSubtype="0" fill="hold" nodeType="withEffect">
                                  <p:stCondLst>
                                    <p:cond delay="0"/>
                                  </p:stCondLst>
                                  <p:childTnLst>
                                    <p:set>
                                      <p:cBhvr>
                                        <p:cTn id="82" dur="1" fill="hold">
                                          <p:stCondLst>
                                            <p:cond delay="0"/>
                                          </p:stCondLst>
                                        </p:cTn>
                                        <p:tgtEl>
                                          <p:spTgt spid="74"/>
                                        </p:tgtEl>
                                        <p:attrNameLst>
                                          <p:attrName>style.visibility</p:attrName>
                                        </p:attrNameLst>
                                      </p:cBhvr>
                                      <p:to>
                                        <p:strVal val="visible"/>
                                      </p:to>
                                    </p:set>
                                    <p:animEffect transition="in" filter="fade">
                                      <p:cBhvr>
                                        <p:cTn id="83" dur="500"/>
                                        <p:tgtEl>
                                          <p:spTgt spid="74"/>
                                        </p:tgtEl>
                                      </p:cBhvr>
                                    </p:animEffect>
                                  </p:childTnLst>
                                </p:cTn>
                              </p:par>
                              <p:par>
                                <p:cTn id="84" presetID="10" presetClass="entr" presetSubtype="0" fill="hold" nodeType="withEffect">
                                  <p:stCondLst>
                                    <p:cond delay="0"/>
                                  </p:stCondLst>
                                  <p:childTnLst>
                                    <p:set>
                                      <p:cBhvr>
                                        <p:cTn id="85" dur="1" fill="hold">
                                          <p:stCondLst>
                                            <p:cond delay="0"/>
                                          </p:stCondLst>
                                        </p:cTn>
                                        <p:tgtEl>
                                          <p:spTgt spid="78"/>
                                        </p:tgtEl>
                                        <p:attrNameLst>
                                          <p:attrName>style.visibility</p:attrName>
                                        </p:attrNameLst>
                                      </p:cBhvr>
                                      <p:to>
                                        <p:strVal val="visible"/>
                                      </p:to>
                                    </p:set>
                                    <p:animEffect transition="in" filter="fade">
                                      <p:cBhvr>
                                        <p:cTn id="86" dur="500"/>
                                        <p:tgtEl>
                                          <p:spTgt spid="78"/>
                                        </p:tgtEl>
                                      </p:cBhvr>
                                    </p:animEffect>
                                  </p:childTnLst>
                                </p:cTn>
                              </p:par>
                              <p:par>
                                <p:cTn id="87" presetID="10" presetClass="entr" presetSubtype="0" fill="hold" nodeType="withEffect">
                                  <p:stCondLst>
                                    <p:cond delay="0"/>
                                  </p:stCondLst>
                                  <p:childTnLst>
                                    <p:set>
                                      <p:cBhvr>
                                        <p:cTn id="88" dur="1" fill="hold">
                                          <p:stCondLst>
                                            <p:cond delay="0"/>
                                          </p:stCondLst>
                                        </p:cTn>
                                        <p:tgtEl>
                                          <p:spTgt spid="79"/>
                                        </p:tgtEl>
                                        <p:attrNameLst>
                                          <p:attrName>style.visibility</p:attrName>
                                        </p:attrNameLst>
                                      </p:cBhvr>
                                      <p:to>
                                        <p:strVal val="visible"/>
                                      </p:to>
                                    </p:set>
                                    <p:animEffect transition="in" filter="fade">
                                      <p:cBhvr>
                                        <p:cTn id="89" dur="500"/>
                                        <p:tgtEl>
                                          <p:spTgt spid="79"/>
                                        </p:tgtEl>
                                      </p:cBhvr>
                                    </p:animEffect>
                                  </p:childTnLst>
                                </p:cTn>
                              </p:par>
                              <p:par>
                                <p:cTn id="90" presetID="10" presetClass="entr" presetSubtype="0" fill="hold" nodeType="with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500"/>
                                        <p:tgtEl>
                                          <p:spTgt spid="80"/>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97"/>
                                        </p:tgtEl>
                                        <p:attrNameLst>
                                          <p:attrName>style.visibility</p:attrName>
                                        </p:attrNameLst>
                                      </p:cBhvr>
                                      <p:to>
                                        <p:strVal val="visible"/>
                                      </p:to>
                                    </p:set>
                                    <p:animEffect transition="in" filter="fade">
                                      <p:cBhvr>
                                        <p:cTn id="95" dur="500"/>
                                        <p:tgtEl>
                                          <p:spTgt spid="9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98"/>
                                        </p:tgtEl>
                                        <p:attrNameLst>
                                          <p:attrName>style.visibility</p:attrName>
                                        </p:attrNameLst>
                                      </p:cBhvr>
                                      <p:to>
                                        <p:strVal val="visible"/>
                                      </p:to>
                                    </p:set>
                                    <p:animEffect transition="in" filter="fade">
                                      <p:cBhvr>
                                        <p:cTn id="98" dur="500"/>
                                        <p:tgtEl>
                                          <p:spTgt spid="98"/>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99"/>
                                        </p:tgtEl>
                                        <p:attrNameLst>
                                          <p:attrName>style.visibility</p:attrName>
                                        </p:attrNameLst>
                                      </p:cBhvr>
                                      <p:to>
                                        <p:strVal val="visible"/>
                                      </p:to>
                                    </p:set>
                                    <p:animEffect transition="in" filter="fade">
                                      <p:cBhvr>
                                        <p:cTn id="101" dur="500"/>
                                        <p:tgtEl>
                                          <p:spTgt spid="99"/>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00"/>
                                        </p:tgtEl>
                                        <p:attrNameLst>
                                          <p:attrName>style.visibility</p:attrName>
                                        </p:attrNameLst>
                                      </p:cBhvr>
                                      <p:to>
                                        <p:strVal val="visible"/>
                                      </p:to>
                                    </p:set>
                                    <p:animEffect transition="in" filter="fade">
                                      <p:cBhvr>
                                        <p:cTn id="104" dur="500"/>
                                        <p:tgtEl>
                                          <p:spTgt spid="100"/>
                                        </p:tgtEl>
                                      </p:cBhvr>
                                    </p:animEffect>
                                  </p:childTnLst>
                                </p:cTn>
                              </p:par>
                              <p:par>
                                <p:cTn id="105" presetID="10" presetClass="entr" presetSubtype="0" fill="hold" nodeType="withEffect">
                                  <p:stCondLst>
                                    <p:cond delay="0"/>
                                  </p:stCondLst>
                                  <p:childTnLst>
                                    <p:set>
                                      <p:cBhvr>
                                        <p:cTn id="106" dur="1" fill="hold">
                                          <p:stCondLst>
                                            <p:cond delay="0"/>
                                          </p:stCondLst>
                                        </p:cTn>
                                        <p:tgtEl>
                                          <p:spTgt spid="101"/>
                                        </p:tgtEl>
                                        <p:attrNameLst>
                                          <p:attrName>style.visibility</p:attrName>
                                        </p:attrNameLst>
                                      </p:cBhvr>
                                      <p:to>
                                        <p:strVal val="visible"/>
                                      </p:to>
                                    </p:set>
                                    <p:animEffect transition="in" filter="fade">
                                      <p:cBhvr>
                                        <p:cTn id="107" dur="500"/>
                                        <p:tgtEl>
                                          <p:spTgt spid="101"/>
                                        </p:tgtEl>
                                      </p:cBhvr>
                                    </p:animEffect>
                                  </p:childTnLst>
                                </p:cTn>
                              </p:par>
                            </p:childTnLst>
                          </p:cTn>
                        </p:par>
                        <p:par>
                          <p:cTn id="108" fill="hold">
                            <p:stCondLst>
                              <p:cond delay="1000"/>
                            </p:stCondLst>
                            <p:childTnLst>
                              <p:par>
                                <p:cTn id="109" presetID="22" presetClass="entr" presetSubtype="2" fill="hold" grpId="0" nodeType="afterEffect">
                                  <p:stCondLst>
                                    <p:cond delay="0"/>
                                  </p:stCondLst>
                                  <p:childTnLst>
                                    <p:set>
                                      <p:cBhvr>
                                        <p:cTn id="110" dur="1" fill="hold">
                                          <p:stCondLst>
                                            <p:cond delay="0"/>
                                          </p:stCondLst>
                                        </p:cTn>
                                        <p:tgtEl>
                                          <p:spTgt spid="104"/>
                                        </p:tgtEl>
                                        <p:attrNameLst>
                                          <p:attrName>style.visibility</p:attrName>
                                        </p:attrNameLst>
                                      </p:cBhvr>
                                      <p:to>
                                        <p:strVal val="visible"/>
                                      </p:to>
                                    </p:set>
                                    <p:animEffect transition="in" filter="wipe(right)">
                                      <p:cBhvr>
                                        <p:cTn id="111" dur="500"/>
                                        <p:tgtEl>
                                          <p:spTgt spid="10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07"/>
                                        </p:tgtEl>
                                        <p:attrNameLst>
                                          <p:attrName>style.visibility</p:attrName>
                                        </p:attrNameLst>
                                      </p:cBhvr>
                                      <p:to>
                                        <p:strVal val="visible"/>
                                      </p:to>
                                    </p:set>
                                    <p:animEffect transition="in" filter="fade">
                                      <p:cBhvr>
                                        <p:cTn id="114" dur="500"/>
                                        <p:tgtEl>
                                          <p:spTgt spid="107"/>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128"/>
                                        </p:tgtEl>
                                        <p:attrNameLst>
                                          <p:attrName>style.visibility</p:attrName>
                                        </p:attrNameLst>
                                      </p:cBhvr>
                                      <p:to>
                                        <p:strVal val="visible"/>
                                      </p:to>
                                    </p:set>
                                    <p:animEffect transition="in" filter="fade">
                                      <p:cBhvr>
                                        <p:cTn id="119" dur="500"/>
                                        <p:tgtEl>
                                          <p:spTgt spid="12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
                                        </p:tgtEl>
                                        <p:attrNameLst>
                                          <p:attrName>style.visibility</p:attrName>
                                        </p:attrNameLst>
                                      </p:cBhvr>
                                      <p:to>
                                        <p:strVal val="visible"/>
                                      </p:to>
                                    </p:set>
                                    <p:animEffect transition="in" filter="fade">
                                      <p:cBhvr>
                                        <p:cTn id="122" dur="500"/>
                                        <p:tgtEl>
                                          <p:spTgt spid="3"/>
                                        </p:tgtEl>
                                      </p:cBhvr>
                                    </p:animEffect>
                                  </p:childTnLst>
                                </p:cTn>
                              </p:par>
                            </p:childTnLst>
                          </p:cTn>
                        </p:par>
                        <p:par>
                          <p:cTn id="123" fill="hold">
                            <p:stCondLst>
                              <p:cond delay="500"/>
                            </p:stCondLst>
                            <p:childTnLst>
                              <p:par>
                                <p:cTn id="124" presetID="10" presetClass="entr" presetSubtype="0" fill="hold" grpId="0" nodeType="afterEffect">
                                  <p:stCondLst>
                                    <p:cond delay="0"/>
                                  </p:stCondLst>
                                  <p:childTnLst>
                                    <p:set>
                                      <p:cBhvr>
                                        <p:cTn id="125" dur="1" fill="hold">
                                          <p:stCondLst>
                                            <p:cond delay="0"/>
                                          </p:stCondLst>
                                        </p:cTn>
                                        <p:tgtEl>
                                          <p:spTgt spid="17"/>
                                        </p:tgtEl>
                                        <p:attrNameLst>
                                          <p:attrName>style.visibility</p:attrName>
                                        </p:attrNameLst>
                                      </p:cBhvr>
                                      <p:to>
                                        <p:strVal val="visible"/>
                                      </p:to>
                                    </p:set>
                                    <p:animEffect transition="in" filter="fade">
                                      <p:cBhvr>
                                        <p:cTn id="126" dur="500"/>
                                        <p:tgtEl>
                                          <p:spTgt spid="17"/>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0"/>
                                        </p:tgtEl>
                                        <p:attrNameLst>
                                          <p:attrName>style.visibility</p:attrName>
                                        </p:attrNameLst>
                                      </p:cBhvr>
                                      <p:to>
                                        <p:strVal val="visible"/>
                                      </p:to>
                                    </p:set>
                                    <p:animEffect transition="in" filter="fade">
                                      <p:cBhvr>
                                        <p:cTn id="129" dur="500"/>
                                        <p:tgtEl>
                                          <p:spTgt spid="10"/>
                                        </p:tgtEl>
                                      </p:cBhvr>
                                    </p:animEffect>
                                  </p:childTnLst>
                                </p:cTn>
                              </p:par>
                              <p:par>
                                <p:cTn id="130" presetID="10" presetClass="entr" presetSubtype="0" fill="hold" nodeType="with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fade">
                                      <p:cBhvr>
                                        <p:cTn id="132" dur="500"/>
                                        <p:tgtEl>
                                          <p:spTgt spid="24"/>
                                        </p:tgtEl>
                                      </p:cBhvr>
                                    </p:animEffect>
                                  </p:childTnLst>
                                </p:cTn>
                              </p:par>
                              <p:par>
                                <p:cTn id="133" presetID="10" presetClass="entr" presetSubtype="0" fill="hold" nodeType="withEffect">
                                  <p:stCondLst>
                                    <p:cond delay="0"/>
                                  </p:stCondLst>
                                  <p:childTnLst>
                                    <p:set>
                                      <p:cBhvr>
                                        <p:cTn id="134" dur="1" fill="hold">
                                          <p:stCondLst>
                                            <p:cond delay="0"/>
                                          </p:stCondLst>
                                        </p:cTn>
                                        <p:tgtEl>
                                          <p:spTgt spid="25"/>
                                        </p:tgtEl>
                                        <p:attrNameLst>
                                          <p:attrName>style.visibility</p:attrName>
                                        </p:attrNameLst>
                                      </p:cBhvr>
                                      <p:to>
                                        <p:strVal val="visible"/>
                                      </p:to>
                                    </p:set>
                                    <p:animEffect transition="in" filter="fade">
                                      <p:cBhvr>
                                        <p:cTn id="135" dur="500"/>
                                        <p:tgtEl>
                                          <p:spTgt spid="25"/>
                                        </p:tgtEl>
                                      </p:cBhvr>
                                    </p:animEffect>
                                  </p:childTnLst>
                                </p:cTn>
                              </p:par>
                              <p:par>
                                <p:cTn id="136" presetID="10" presetClass="entr" presetSubtype="0" fill="hold" nodeType="withEffect">
                                  <p:stCondLst>
                                    <p:cond delay="0"/>
                                  </p:stCondLst>
                                  <p:childTnLst>
                                    <p:set>
                                      <p:cBhvr>
                                        <p:cTn id="137" dur="1" fill="hold">
                                          <p:stCondLst>
                                            <p:cond delay="0"/>
                                          </p:stCondLst>
                                        </p:cTn>
                                        <p:tgtEl>
                                          <p:spTgt spid="26"/>
                                        </p:tgtEl>
                                        <p:attrNameLst>
                                          <p:attrName>style.visibility</p:attrName>
                                        </p:attrNameLst>
                                      </p:cBhvr>
                                      <p:to>
                                        <p:strVal val="visible"/>
                                      </p:to>
                                    </p:set>
                                    <p:animEffect transition="in" filter="fade">
                                      <p:cBhvr>
                                        <p:cTn id="13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P spid="13" grpId="0" animBg="1"/>
      <p:bldP spid="17" grpId="0" animBg="1"/>
      <p:bldP spid="18" grpId="0" animBg="1"/>
      <p:bldP spid="19" grpId="0" animBg="1"/>
      <p:bldP spid="20" grpId="0" animBg="1"/>
      <p:bldP spid="63" grpId="0"/>
      <p:bldP spid="72" grpId="0" animBg="1"/>
      <p:bldP spid="73" grpId="0"/>
      <p:bldP spid="97" grpId="0"/>
      <p:bldP spid="98" grpId="0"/>
      <p:bldP spid="99" grpId="0"/>
      <p:bldP spid="100" grpId="0"/>
      <p:bldP spid="3" grpId="0" animBg="1"/>
      <p:bldP spid="132" grpId="0" animBg="1"/>
      <p:bldP spid="134" grpId="0" animBg="1"/>
      <p:bldP spid="135" grpId="0" animBg="1"/>
      <p:bldP spid="104" grpId="0" animBg="1"/>
      <p:bldP spid="106" grpId="0" animBg="1"/>
      <p:bldP spid="10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914F98-8715-412C-953B-72B810B9E90A}"/>
              </a:ext>
            </a:extLst>
          </p:cNvPr>
          <p:cNvSpPr>
            <a:spLocks noGrp="1"/>
          </p:cNvSpPr>
          <p:nvPr>
            <p:ph type="title"/>
          </p:nvPr>
        </p:nvSpPr>
        <p:spPr>
          <a:xfrm>
            <a:off x="509698" y="110360"/>
            <a:ext cx="7891272" cy="457200"/>
          </a:xfrm>
        </p:spPr>
        <p:txBody>
          <a:bodyPr/>
          <a:lstStyle/>
          <a:p>
            <a:r>
              <a:rPr lang="en-US" b="1" u="sng" dirty="0"/>
              <a:t>Organization</a:t>
            </a:r>
            <a:r>
              <a:rPr lang="en-US" b="1" dirty="0"/>
              <a:t>:  Interdisciplinary Collaboration</a:t>
            </a:r>
          </a:p>
        </p:txBody>
      </p:sp>
      <p:graphicFrame>
        <p:nvGraphicFramePr>
          <p:cNvPr id="5" name="Content Placeholder 4">
            <a:extLst>
              <a:ext uri="{FF2B5EF4-FFF2-40B4-BE49-F238E27FC236}">
                <a16:creationId xmlns:a16="http://schemas.microsoft.com/office/drawing/2014/main" xmlns="" id="{E04B1FD2-13AC-42A9-8BDB-9B10A5ACBFD8}"/>
              </a:ext>
            </a:extLst>
          </p:cNvPr>
          <p:cNvGraphicFramePr>
            <a:graphicFrameLocks noGrp="1"/>
          </p:cNvGraphicFramePr>
          <p:nvPr>
            <p:ph sz="quarter" idx="11"/>
            <p:extLst/>
          </p:nvPr>
        </p:nvGraphicFramePr>
        <p:xfrm>
          <a:off x="1614389" y="466659"/>
          <a:ext cx="5681891" cy="46768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Rectangle: Rounded Corners 18">
            <a:extLst>
              <a:ext uri="{FF2B5EF4-FFF2-40B4-BE49-F238E27FC236}">
                <a16:creationId xmlns:a16="http://schemas.microsoft.com/office/drawing/2014/main" xmlns="" id="{46C06341-8AE4-43E6-8FF4-52D40059BC67}"/>
              </a:ext>
            </a:extLst>
          </p:cNvPr>
          <p:cNvSpPr/>
          <p:nvPr/>
        </p:nvSpPr>
        <p:spPr>
          <a:xfrm>
            <a:off x="194668" y="3551498"/>
            <a:ext cx="2980922" cy="1399978"/>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7150" lvl="1" indent="-57150" defTabSz="311150">
              <a:lnSpc>
                <a:spcPct val="90000"/>
              </a:lnSpc>
              <a:spcBef>
                <a:spcPct val="0"/>
              </a:spcBef>
              <a:spcAft>
                <a:spcPct val="15000"/>
              </a:spcAft>
              <a:buFontTx/>
              <a:buChar char="•"/>
            </a:pPr>
            <a:r>
              <a:rPr lang="en-US" sz="1600" b="1" dirty="0"/>
              <a:t>Decision &amp; ownership clarity</a:t>
            </a:r>
          </a:p>
          <a:p>
            <a:pPr marL="57150" lvl="1" indent="-57150" defTabSz="311150">
              <a:lnSpc>
                <a:spcPct val="90000"/>
              </a:lnSpc>
              <a:spcBef>
                <a:spcPct val="0"/>
              </a:spcBef>
              <a:spcAft>
                <a:spcPct val="15000"/>
              </a:spcAft>
              <a:buChar char="•"/>
            </a:pPr>
            <a:r>
              <a:rPr lang="en-US" sz="1600" b="1" dirty="0"/>
              <a:t>Training &amp; team building</a:t>
            </a:r>
          </a:p>
          <a:p>
            <a:pPr marL="57150" lvl="1" indent="-57150" defTabSz="311150">
              <a:lnSpc>
                <a:spcPct val="90000"/>
              </a:lnSpc>
              <a:spcBef>
                <a:spcPct val="0"/>
              </a:spcBef>
              <a:spcAft>
                <a:spcPct val="15000"/>
              </a:spcAft>
              <a:buChar char="•"/>
            </a:pPr>
            <a:r>
              <a:rPr lang="en-US" sz="1600" b="1" dirty="0"/>
              <a:t>Orchestrate cross-functional collaboration (incentives)</a:t>
            </a:r>
          </a:p>
          <a:p>
            <a:pPr marL="57150" lvl="1" indent="-57150" defTabSz="311150">
              <a:lnSpc>
                <a:spcPct val="90000"/>
              </a:lnSpc>
              <a:spcBef>
                <a:spcPct val="0"/>
              </a:spcBef>
              <a:spcAft>
                <a:spcPct val="15000"/>
              </a:spcAft>
              <a:buChar char="•"/>
            </a:pPr>
            <a:r>
              <a:rPr lang="en-US" sz="1600" b="1" i="1" dirty="0">
                <a:solidFill>
                  <a:srgbClr val="FFFF00"/>
                </a:solidFill>
              </a:rPr>
              <a:t>Call “AI = automation” bluff</a:t>
            </a:r>
          </a:p>
        </p:txBody>
      </p:sp>
      <p:sp>
        <p:nvSpPr>
          <p:cNvPr id="20" name="Rectangle: Rounded Corners 19">
            <a:extLst>
              <a:ext uri="{FF2B5EF4-FFF2-40B4-BE49-F238E27FC236}">
                <a16:creationId xmlns:a16="http://schemas.microsoft.com/office/drawing/2014/main" xmlns="" id="{50575FC4-9C44-4652-A3AA-105594E68F3C}"/>
              </a:ext>
            </a:extLst>
          </p:cNvPr>
          <p:cNvSpPr/>
          <p:nvPr/>
        </p:nvSpPr>
        <p:spPr>
          <a:xfrm>
            <a:off x="5768865" y="3594963"/>
            <a:ext cx="3256455" cy="1399978"/>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7150" lvl="1" indent="-57150" defTabSz="311150">
              <a:lnSpc>
                <a:spcPct val="90000"/>
              </a:lnSpc>
              <a:spcBef>
                <a:spcPct val="0"/>
              </a:spcBef>
              <a:spcAft>
                <a:spcPct val="15000"/>
              </a:spcAft>
              <a:buChar char="•"/>
            </a:pPr>
            <a:r>
              <a:rPr lang="en-US" b="1" dirty="0"/>
              <a:t>Core data ‘pipeline’ processing</a:t>
            </a:r>
          </a:p>
          <a:p>
            <a:pPr marL="57150" lvl="1" indent="-57150" defTabSz="311150">
              <a:lnSpc>
                <a:spcPct val="90000"/>
              </a:lnSpc>
              <a:spcBef>
                <a:spcPct val="0"/>
              </a:spcBef>
              <a:spcAft>
                <a:spcPct val="15000"/>
              </a:spcAft>
              <a:buChar char="•"/>
            </a:pPr>
            <a:r>
              <a:rPr lang="en-US" b="1" dirty="0"/>
              <a:t>Facilitate processes / quality</a:t>
            </a:r>
          </a:p>
          <a:p>
            <a:pPr marL="57150" lvl="1" indent="-57150" defTabSz="311150">
              <a:lnSpc>
                <a:spcPct val="90000"/>
              </a:lnSpc>
              <a:spcBef>
                <a:spcPct val="0"/>
              </a:spcBef>
              <a:spcAft>
                <a:spcPct val="15000"/>
              </a:spcAft>
              <a:buChar char="•"/>
            </a:pPr>
            <a:r>
              <a:rPr lang="en-US" b="1" i="1" dirty="0">
                <a:solidFill>
                  <a:srgbClr val="FFFF00"/>
                </a:solidFill>
              </a:rPr>
              <a:t>Call “data lake = strategy” bluff</a:t>
            </a:r>
          </a:p>
        </p:txBody>
      </p:sp>
      <p:sp>
        <p:nvSpPr>
          <p:cNvPr id="21" name="Rectangle: Rounded Corners 20">
            <a:extLst>
              <a:ext uri="{FF2B5EF4-FFF2-40B4-BE49-F238E27FC236}">
                <a16:creationId xmlns:a16="http://schemas.microsoft.com/office/drawing/2014/main" xmlns="" id="{2158D9BA-BE19-441C-A6D1-6CC337F78144}"/>
              </a:ext>
            </a:extLst>
          </p:cNvPr>
          <p:cNvSpPr/>
          <p:nvPr/>
        </p:nvSpPr>
        <p:spPr>
          <a:xfrm>
            <a:off x="5768865" y="773899"/>
            <a:ext cx="3204383" cy="1637070"/>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7150" lvl="1" indent="-57150" defTabSz="311150">
              <a:lnSpc>
                <a:spcPct val="90000"/>
              </a:lnSpc>
              <a:spcBef>
                <a:spcPct val="0"/>
              </a:spcBef>
              <a:spcAft>
                <a:spcPct val="15000"/>
              </a:spcAft>
              <a:buChar char="•"/>
            </a:pPr>
            <a:r>
              <a:rPr lang="en-US" b="1" dirty="0"/>
              <a:t>Architect exploration and detection processes</a:t>
            </a:r>
          </a:p>
          <a:p>
            <a:pPr marL="57150" lvl="1" indent="-57150" defTabSz="311150">
              <a:lnSpc>
                <a:spcPct val="90000"/>
              </a:lnSpc>
              <a:spcBef>
                <a:spcPct val="0"/>
              </a:spcBef>
              <a:spcAft>
                <a:spcPct val="15000"/>
              </a:spcAft>
              <a:buChar char="•"/>
            </a:pPr>
            <a:r>
              <a:rPr lang="en-US" b="1" dirty="0"/>
              <a:t>Collaborative model building</a:t>
            </a:r>
          </a:p>
          <a:p>
            <a:pPr marL="57150" lvl="1" indent="-57150" defTabSz="311150">
              <a:lnSpc>
                <a:spcPct val="90000"/>
              </a:lnSpc>
              <a:spcBef>
                <a:spcPct val="0"/>
              </a:spcBef>
              <a:spcAft>
                <a:spcPct val="15000"/>
              </a:spcAft>
              <a:buChar char="•"/>
            </a:pPr>
            <a:r>
              <a:rPr lang="en-US" b="1" dirty="0"/>
              <a:t>Model transparency</a:t>
            </a:r>
          </a:p>
          <a:p>
            <a:pPr marL="57150" lvl="1" indent="-57150" defTabSz="311150">
              <a:lnSpc>
                <a:spcPct val="90000"/>
              </a:lnSpc>
              <a:spcBef>
                <a:spcPct val="0"/>
              </a:spcBef>
              <a:spcAft>
                <a:spcPct val="15000"/>
              </a:spcAft>
              <a:buChar char="•"/>
            </a:pPr>
            <a:r>
              <a:rPr lang="en-US" b="1" i="1" dirty="0">
                <a:solidFill>
                  <a:srgbClr val="FFFF00"/>
                </a:solidFill>
              </a:rPr>
              <a:t>De-escalate “AI hype cycle”</a:t>
            </a:r>
          </a:p>
        </p:txBody>
      </p:sp>
      <p:sp>
        <p:nvSpPr>
          <p:cNvPr id="22" name="Rectangle: Rounded Corners 21">
            <a:extLst>
              <a:ext uri="{FF2B5EF4-FFF2-40B4-BE49-F238E27FC236}">
                <a16:creationId xmlns:a16="http://schemas.microsoft.com/office/drawing/2014/main" xmlns="" id="{76D9DF41-770C-472B-B6A4-C1BC30F5BF4E}"/>
              </a:ext>
            </a:extLst>
          </p:cNvPr>
          <p:cNvSpPr/>
          <p:nvPr/>
        </p:nvSpPr>
        <p:spPr>
          <a:xfrm>
            <a:off x="170752" y="773899"/>
            <a:ext cx="2855286" cy="1637070"/>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7150" lvl="1" indent="-57150" defTabSz="311150">
              <a:lnSpc>
                <a:spcPct val="90000"/>
              </a:lnSpc>
              <a:spcBef>
                <a:spcPct val="0"/>
              </a:spcBef>
              <a:spcAft>
                <a:spcPct val="15000"/>
              </a:spcAft>
              <a:buChar char="•"/>
            </a:pPr>
            <a:r>
              <a:rPr lang="en-US" b="1" dirty="0"/>
              <a:t>Collaborate in process re-engineering </a:t>
            </a:r>
          </a:p>
          <a:p>
            <a:pPr marL="57150" lvl="1" indent="-57150" defTabSz="311150">
              <a:lnSpc>
                <a:spcPct val="90000"/>
              </a:lnSpc>
              <a:spcBef>
                <a:spcPct val="0"/>
              </a:spcBef>
              <a:spcAft>
                <a:spcPct val="15000"/>
              </a:spcAft>
              <a:buChar char="•"/>
            </a:pPr>
            <a:r>
              <a:rPr lang="en-US" b="1" dirty="0"/>
              <a:t>Collaborate in establishing model context</a:t>
            </a:r>
          </a:p>
          <a:p>
            <a:pPr marL="57150" lvl="1" indent="-57150" defTabSz="311150">
              <a:lnSpc>
                <a:spcPct val="90000"/>
              </a:lnSpc>
              <a:spcBef>
                <a:spcPct val="0"/>
              </a:spcBef>
              <a:spcAft>
                <a:spcPct val="15000"/>
              </a:spcAft>
              <a:buChar char="•"/>
            </a:pPr>
            <a:r>
              <a:rPr lang="en-US" b="1" i="1" dirty="0">
                <a:solidFill>
                  <a:srgbClr val="FFFF00"/>
                </a:solidFill>
              </a:rPr>
              <a:t>Admit limits of signatures</a:t>
            </a:r>
            <a:endParaRPr lang="en-US" sz="2400" b="1" i="1" dirty="0">
              <a:solidFill>
                <a:srgbClr val="FFFF00"/>
              </a:solidFill>
            </a:endParaRPr>
          </a:p>
        </p:txBody>
      </p:sp>
    </p:spTree>
    <p:extLst>
      <p:ext uri="{BB962C8B-B14F-4D97-AF65-F5344CB8AC3E}">
        <p14:creationId xmlns:p14="http://schemas.microsoft.com/office/powerpoint/2010/main" val="3959209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2DD4EE-F0E9-4AC2-89CA-AA78FA2DED7C}"/>
              </a:ext>
            </a:extLst>
          </p:cNvPr>
          <p:cNvSpPr>
            <a:spLocks noGrp="1"/>
          </p:cNvSpPr>
          <p:nvPr>
            <p:ph type="title"/>
          </p:nvPr>
        </p:nvSpPr>
        <p:spPr>
          <a:xfrm>
            <a:off x="0" y="1593057"/>
            <a:ext cx="9144000" cy="1200329"/>
          </a:xfrm>
        </p:spPr>
        <p:txBody>
          <a:bodyPr/>
          <a:lstStyle/>
          <a:p>
            <a:r>
              <a:rPr lang="en-US" sz="4400" b="1" dirty="0"/>
              <a:t>People - Process - Technology</a:t>
            </a:r>
            <a:br>
              <a:rPr lang="en-US" sz="4400" b="1" dirty="0"/>
            </a:br>
            <a:r>
              <a:rPr lang="en-US" sz="2800" dirty="0"/>
              <a:t>Management of Information System</a:t>
            </a:r>
            <a:endParaRPr lang="en-US" sz="2400" dirty="0"/>
          </a:p>
        </p:txBody>
      </p:sp>
    </p:spTree>
    <p:extLst>
      <p:ext uri="{BB962C8B-B14F-4D97-AF65-F5344CB8AC3E}">
        <p14:creationId xmlns:p14="http://schemas.microsoft.com/office/powerpoint/2010/main" val="197216891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4412" y="117106"/>
            <a:ext cx="7441363" cy="342900"/>
          </a:xfrm>
        </p:spPr>
        <p:txBody>
          <a:bodyPr/>
          <a:lstStyle/>
          <a:p>
            <a:r>
              <a:rPr lang="en-US" b="1" u="sng" dirty="0">
                <a:solidFill>
                  <a:schemeClr val="accent3"/>
                </a:solidFill>
              </a:rPr>
              <a:t>People</a:t>
            </a:r>
            <a:r>
              <a:rPr lang="en-US" b="1" dirty="0">
                <a:solidFill>
                  <a:schemeClr val="accent3"/>
                </a:solidFill>
              </a:rPr>
              <a:t>: Anomaly Detection - Simply Complex</a:t>
            </a:r>
          </a:p>
        </p:txBody>
      </p:sp>
      <p:sp>
        <p:nvSpPr>
          <p:cNvPr id="3" name="Text Placeholder 2"/>
          <p:cNvSpPr>
            <a:spLocks noGrp="1"/>
          </p:cNvSpPr>
          <p:nvPr>
            <p:ph type="body" sz="quarter" idx="11"/>
          </p:nvPr>
        </p:nvSpPr>
        <p:spPr>
          <a:xfrm flipH="1">
            <a:off x="1612773" y="497205"/>
            <a:ext cx="5918454" cy="240030"/>
          </a:xfrm>
        </p:spPr>
        <p:txBody>
          <a:bodyPr/>
          <a:lstStyle/>
          <a:p>
            <a:r>
              <a:rPr lang="en-US" dirty="0"/>
              <a:t>Identifying targeted anomalies amongst an ocean of noise…</a:t>
            </a:r>
          </a:p>
        </p:txBody>
      </p:sp>
      <p:pic>
        <p:nvPicPr>
          <p:cNvPr id="4" name="Picture 3"/>
          <p:cNvPicPr/>
          <p:nvPr/>
        </p:nvPicPr>
        <p:blipFill rotWithShape="1">
          <a:blip r:embed="rId2" cstate="print">
            <a:extLst>
              <a:ext uri="{28A0092B-C50C-407E-A947-70E740481C1C}">
                <a14:useLocalDpi xmlns:a14="http://schemas.microsoft.com/office/drawing/2010/main" val="0"/>
              </a:ext>
            </a:extLst>
          </a:blip>
          <a:srcRect/>
          <a:stretch/>
        </p:blipFill>
        <p:spPr bwMode="auto">
          <a:xfrm>
            <a:off x="412802" y="735798"/>
            <a:ext cx="4072292" cy="1853968"/>
          </a:xfrm>
          <a:prstGeom prst="rect">
            <a:avLst/>
          </a:prstGeom>
          <a:ln>
            <a:noFill/>
          </a:ln>
          <a:extLst>
            <a:ext uri="{53640926-AAD7-44D8-BBD7-CCE9431645EC}">
              <a14:shadowObscured xmlns:a14="http://schemas.microsoft.com/office/drawing/2010/main"/>
            </a:ext>
          </a:extLst>
        </p:spPr>
      </p:pic>
      <p:pic>
        <p:nvPicPr>
          <p:cNvPr id="5" name="Picture 4"/>
          <p:cNvPicPr/>
          <p:nvPr/>
        </p:nvPicPr>
        <p:blipFill rotWithShape="1">
          <a:blip r:embed="rId3" cstate="print">
            <a:extLst>
              <a:ext uri="{28A0092B-C50C-407E-A947-70E740481C1C}">
                <a14:useLocalDpi xmlns:a14="http://schemas.microsoft.com/office/drawing/2010/main" val="0"/>
              </a:ext>
            </a:extLst>
          </a:blip>
          <a:srcRect/>
          <a:stretch/>
        </p:blipFill>
        <p:spPr bwMode="auto">
          <a:xfrm>
            <a:off x="412802" y="2519564"/>
            <a:ext cx="3777003" cy="1873110"/>
          </a:xfrm>
          <a:prstGeom prst="rect">
            <a:avLst/>
          </a:prstGeom>
          <a:ln>
            <a:noFill/>
          </a:ln>
          <a:extLst>
            <a:ext uri="{53640926-AAD7-44D8-BBD7-CCE9431645EC}">
              <a14:shadowObscured xmlns:a14="http://schemas.microsoft.com/office/drawing/2010/main"/>
            </a:ext>
          </a:extLst>
        </p:spPr>
      </p:pic>
      <p:sp>
        <p:nvSpPr>
          <p:cNvPr id="6" name="Rectangle 5"/>
          <p:cNvSpPr/>
          <p:nvPr/>
        </p:nvSpPr>
        <p:spPr>
          <a:xfrm>
            <a:off x="760805" y="4404936"/>
            <a:ext cx="3429000" cy="577081"/>
          </a:xfrm>
          <a:prstGeom prst="rect">
            <a:avLst/>
          </a:prstGeom>
        </p:spPr>
        <p:txBody>
          <a:bodyPr>
            <a:spAutoFit/>
          </a:bodyPr>
          <a:lstStyle/>
          <a:p>
            <a:r>
              <a:rPr lang="en-US" sz="1050" i="1" dirty="0">
                <a:solidFill>
                  <a:srgbClr val="000000"/>
                </a:solidFill>
                <a:latin typeface="Arial" panose="020B0604020202020204" pitchFamily="34" charset="0"/>
                <a:ea typeface="Arial" panose="020B0604020202020204" pitchFamily="34" charset="0"/>
              </a:rPr>
              <a:t>SOURCE</a:t>
            </a:r>
          </a:p>
          <a:p>
            <a:r>
              <a:rPr lang="en-US" sz="1050" dirty="0">
                <a:solidFill>
                  <a:srgbClr val="000000"/>
                </a:solidFill>
                <a:latin typeface="Arial" panose="020B0604020202020204" pitchFamily="34" charset="0"/>
                <a:ea typeface="Arial" panose="020B0604020202020204" pitchFamily="34" charset="0"/>
              </a:rPr>
              <a:t>Aggarwal, </a:t>
            </a:r>
            <a:r>
              <a:rPr lang="en-US" sz="1050" dirty="0" err="1">
                <a:solidFill>
                  <a:srgbClr val="000000"/>
                </a:solidFill>
                <a:latin typeface="Arial" panose="020B0604020202020204" pitchFamily="34" charset="0"/>
                <a:ea typeface="Arial" panose="020B0604020202020204" pitchFamily="34" charset="0"/>
              </a:rPr>
              <a:t>Charu</a:t>
            </a:r>
            <a:r>
              <a:rPr lang="en-US" sz="1050" dirty="0">
                <a:solidFill>
                  <a:srgbClr val="000000"/>
                </a:solidFill>
                <a:latin typeface="Arial" panose="020B0604020202020204" pitchFamily="34" charset="0"/>
                <a:ea typeface="Arial" panose="020B0604020202020204" pitchFamily="34" charset="0"/>
              </a:rPr>
              <a:t> C. (2017). “Outlier Analysis: Second Edition”. Springer International Publishing AG.</a:t>
            </a:r>
            <a:endParaRPr lang="en-US" sz="1050" dirty="0">
              <a:solidFill>
                <a:srgbClr val="000000"/>
              </a:solidFill>
              <a:latin typeface="Arial" panose="020B0604020202020204" pitchFamily="34" charset="0"/>
              <a:ea typeface="Times New Roman" panose="02020603050405020304" pitchFamily="18" charset="0"/>
            </a:endParaRPr>
          </a:p>
        </p:txBody>
      </p:sp>
      <p:pic>
        <p:nvPicPr>
          <p:cNvPr id="7" name="Picture 6" descr="PredictiveLifecycle_CIRCLE.png">
            <a:extLst>
              <a:ext uri="{FF2B5EF4-FFF2-40B4-BE49-F238E27FC236}">
                <a16:creationId xmlns:a16="http://schemas.microsoft.com/office/drawing/2014/main" xmlns="" id="{30DDC2C2-9DAA-4C69-B5B8-BBC2B4C3A1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0150" y="821106"/>
            <a:ext cx="4081875" cy="4088233"/>
          </a:xfrm>
          <a:prstGeom prst="rect">
            <a:avLst/>
          </a:prstGeom>
        </p:spPr>
      </p:pic>
      <p:pic>
        <p:nvPicPr>
          <p:cNvPr id="8" name="Picture 7" descr="PredictiveLifecycle_A1.png">
            <a:extLst>
              <a:ext uri="{FF2B5EF4-FFF2-40B4-BE49-F238E27FC236}">
                <a16:creationId xmlns:a16="http://schemas.microsoft.com/office/drawing/2014/main" xmlns="" id="{3A48ED9D-D2E0-4763-90DE-1238D22A21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96385" y="821106"/>
            <a:ext cx="1835244" cy="1308167"/>
          </a:xfrm>
          <a:prstGeom prst="rect">
            <a:avLst/>
          </a:prstGeom>
        </p:spPr>
      </p:pic>
      <p:pic>
        <p:nvPicPr>
          <p:cNvPr id="9" name="Picture 8" descr="PredictiveLifecycle_A2.png">
            <a:extLst>
              <a:ext uri="{FF2B5EF4-FFF2-40B4-BE49-F238E27FC236}">
                <a16:creationId xmlns:a16="http://schemas.microsoft.com/office/drawing/2014/main" xmlns="" id="{5095CC29-B3A9-425F-9B3E-47FF9840EE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58469" y="909998"/>
            <a:ext cx="1473276" cy="1638384"/>
          </a:xfrm>
          <a:prstGeom prst="rect">
            <a:avLst/>
          </a:prstGeom>
        </p:spPr>
      </p:pic>
      <p:pic>
        <p:nvPicPr>
          <p:cNvPr id="10" name="Picture 9" descr="PredictiveLifecycle_A3.png">
            <a:extLst>
              <a:ext uri="{FF2B5EF4-FFF2-40B4-BE49-F238E27FC236}">
                <a16:creationId xmlns:a16="http://schemas.microsoft.com/office/drawing/2014/main" xmlns="" id="{2CA09F5E-2B4E-45A2-A6FE-8D787B8A02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79869" y="1813634"/>
            <a:ext cx="1301817" cy="1835244"/>
          </a:xfrm>
          <a:prstGeom prst="rect">
            <a:avLst/>
          </a:prstGeom>
        </p:spPr>
      </p:pic>
      <p:pic>
        <p:nvPicPr>
          <p:cNvPr id="11" name="Picture 10" descr="PredictiveLifecycle_A4.png">
            <a:extLst>
              <a:ext uri="{FF2B5EF4-FFF2-40B4-BE49-F238E27FC236}">
                <a16:creationId xmlns:a16="http://schemas.microsoft.com/office/drawing/2014/main" xmlns="" id="{4FC77918-062E-4095-9FB3-817A56AAE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4410" y="3175718"/>
            <a:ext cx="1644735" cy="1473276"/>
          </a:xfrm>
          <a:prstGeom prst="rect">
            <a:avLst/>
          </a:prstGeom>
        </p:spPr>
      </p:pic>
      <p:pic>
        <p:nvPicPr>
          <p:cNvPr id="12" name="Picture 11" descr="PredictiveLifecycle_A5.png">
            <a:extLst>
              <a:ext uri="{FF2B5EF4-FFF2-40B4-BE49-F238E27FC236}">
                <a16:creationId xmlns:a16="http://schemas.microsoft.com/office/drawing/2014/main" xmlns="" id="{FD008B98-54A5-49C2-84CA-7DF814F2B68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30340" y="3178888"/>
            <a:ext cx="1473276" cy="1644735"/>
          </a:xfrm>
          <a:prstGeom prst="rect">
            <a:avLst/>
          </a:prstGeom>
        </p:spPr>
      </p:pic>
      <p:pic>
        <p:nvPicPr>
          <p:cNvPr id="13" name="Picture 12" descr="PredictiveLifecycle_A8.png">
            <a:extLst>
              <a:ext uri="{FF2B5EF4-FFF2-40B4-BE49-F238E27FC236}">
                <a16:creationId xmlns:a16="http://schemas.microsoft.com/office/drawing/2014/main" xmlns="" id="{7F75340E-7EF0-42B2-BCE0-631B0FECC34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50239" y="1081452"/>
            <a:ext cx="1644735" cy="1473276"/>
          </a:xfrm>
          <a:prstGeom prst="rect">
            <a:avLst/>
          </a:prstGeom>
        </p:spPr>
      </p:pic>
      <p:pic>
        <p:nvPicPr>
          <p:cNvPr id="14" name="Picture 13" descr="PredictiveLifecycle_A5.png">
            <a:extLst>
              <a:ext uri="{FF2B5EF4-FFF2-40B4-BE49-F238E27FC236}">
                <a16:creationId xmlns:a16="http://schemas.microsoft.com/office/drawing/2014/main" xmlns="" id="{D47FEC40-E44A-4564-882A-365E6FA36CE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24106" y="3601172"/>
            <a:ext cx="1835244" cy="1308167"/>
          </a:xfrm>
          <a:prstGeom prst="rect">
            <a:avLst/>
          </a:prstGeom>
        </p:spPr>
      </p:pic>
      <p:sp>
        <p:nvSpPr>
          <p:cNvPr id="15" name="TextBox 14">
            <a:extLst>
              <a:ext uri="{FF2B5EF4-FFF2-40B4-BE49-F238E27FC236}">
                <a16:creationId xmlns:a16="http://schemas.microsoft.com/office/drawing/2014/main" xmlns="" id="{2AD4F065-1D2E-444D-84D6-5D058FA57F0F}"/>
              </a:ext>
            </a:extLst>
          </p:cNvPr>
          <p:cNvSpPr txBox="1"/>
          <p:nvPr/>
        </p:nvSpPr>
        <p:spPr>
          <a:xfrm>
            <a:off x="6286983" y="1233544"/>
            <a:ext cx="1063624"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PROBLEM FRAMING</a:t>
            </a:r>
          </a:p>
        </p:txBody>
      </p:sp>
      <p:sp>
        <p:nvSpPr>
          <p:cNvPr id="16" name="TextBox 15">
            <a:extLst>
              <a:ext uri="{FF2B5EF4-FFF2-40B4-BE49-F238E27FC236}">
                <a16:creationId xmlns:a16="http://schemas.microsoft.com/office/drawing/2014/main" xmlns="" id="{5830DD9E-9DDA-44F6-AC6D-846304A9EEAE}"/>
              </a:ext>
            </a:extLst>
          </p:cNvPr>
          <p:cNvSpPr txBox="1"/>
          <p:nvPr/>
        </p:nvSpPr>
        <p:spPr>
          <a:xfrm>
            <a:off x="7201383" y="1690744"/>
            <a:ext cx="1203324"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DATA</a:t>
            </a:r>
          </a:p>
          <a:p>
            <a:pPr algn="ctr"/>
            <a:r>
              <a:rPr lang="en-US" sz="1000" b="1" dirty="0">
                <a:solidFill>
                  <a:schemeClr val="bg1"/>
                </a:solidFill>
                <a:latin typeface="Calibri Light" panose="020F0302020204030204" pitchFamily="34" charset="0"/>
                <a:cs typeface="Calibri Light" panose="020F0302020204030204" pitchFamily="34" charset="0"/>
              </a:rPr>
              <a:t>PREPARATION</a:t>
            </a:r>
          </a:p>
        </p:txBody>
      </p:sp>
      <p:sp>
        <p:nvSpPr>
          <p:cNvPr id="17" name="TextBox 16">
            <a:extLst>
              <a:ext uri="{FF2B5EF4-FFF2-40B4-BE49-F238E27FC236}">
                <a16:creationId xmlns:a16="http://schemas.microsoft.com/office/drawing/2014/main" xmlns="" id="{A0ACECC3-DEB9-46C8-A2DA-9A3BB477954E}"/>
              </a:ext>
            </a:extLst>
          </p:cNvPr>
          <p:cNvSpPr txBox="1"/>
          <p:nvPr/>
        </p:nvSpPr>
        <p:spPr>
          <a:xfrm>
            <a:off x="7632304" y="2858654"/>
            <a:ext cx="1226496" cy="246221"/>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DATA EXPLORATION</a:t>
            </a:r>
          </a:p>
        </p:txBody>
      </p:sp>
      <p:sp>
        <p:nvSpPr>
          <p:cNvPr id="18" name="TextBox 17">
            <a:extLst>
              <a:ext uri="{FF2B5EF4-FFF2-40B4-BE49-F238E27FC236}">
                <a16:creationId xmlns:a16="http://schemas.microsoft.com/office/drawing/2014/main" xmlns="" id="{5F3F105B-8820-4BD9-804E-DC231C77047E}"/>
              </a:ext>
            </a:extLst>
          </p:cNvPr>
          <p:cNvSpPr txBox="1"/>
          <p:nvPr/>
        </p:nvSpPr>
        <p:spPr>
          <a:xfrm>
            <a:off x="7181454" y="3810410"/>
            <a:ext cx="1127124"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TRANSFORM &amp; SELECT</a:t>
            </a:r>
          </a:p>
        </p:txBody>
      </p:sp>
      <p:sp>
        <p:nvSpPr>
          <p:cNvPr id="19" name="TextBox 18">
            <a:extLst>
              <a:ext uri="{FF2B5EF4-FFF2-40B4-BE49-F238E27FC236}">
                <a16:creationId xmlns:a16="http://schemas.microsoft.com/office/drawing/2014/main" xmlns="" id="{5ACDC383-73F1-476E-A421-1F437AEE8BF0}"/>
              </a:ext>
            </a:extLst>
          </p:cNvPr>
          <p:cNvSpPr txBox="1"/>
          <p:nvPr/>
        </p:nvSpPr>
        <p:spPr>
          <a:xfrm>
            <a:off x="6127354" y="4159660"/>
            <a:ext cx="1066800"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MODEL BUILDING</a:t>
            </a:r>
          </a:p>
        </p:txBody>
      </p:sp>
      <p:sp>
        <p:nvSpPr>
          <p:cNvPr id="20" name="TextBox 19">
            <a:extLst>
              <a:ext uri="{FF2B5EF4-FFF2-40B4-BE49-F238E27FC236}">
                <a16:creationId xmlns:a16="http://schemas.microsoft.com/office/drawing/2014/main" xmlns="" id="{1145EFA6-CB30-47BC-82F1-1B94059F06B3}"/>
              </a:ext>
            </a:extLst>
          </p:cNvPr>
          <p:cNvSpPr txBox="1"/>
          <p:nvPr/>
        </p:nvSpPr>
        <p:spPr>
          <a:xfrm>
            <a:off x="4976903" y="3694901"/>
            <a:ext cx="1299135" cy="246221"/>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MODEL VALIDATION</a:t>
            </a:r>
          </a:p>
        </p:txBody>
      </p:sp>
      <p:sp>
        <p:nvSpPr>
          <p:cNvPr id="21" name="TextBox 20">
            <a:extLst>
              <a:ext uri="{FF2B5EF4-FFF2-40B4-BE49-F238E27FC236}">
                <a16:creationId xmlns:a16="http://schemas.microsoft.com/office/drawing/2014/main" xmlns="" id="{5000A4E8-D319-4B00-A45B-B8F3C356CFA9}"/>
              </a:ext>
            </a:extLst>
          </p:cNvPr>
          <p:cNvSpPr txBox="1"/>
          <p:nvPr/>
        </p:nvSpPr>
        <p:spPr>
          <a:xfrm>
            <a:off x="5013804" y="1601844"/>
            <a:ext cx="1219203"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EVALUATE &amp; MONITOR RESULTS</a:t>
            </a:r>
          </a:p>
        </p:txBody>
      </p:sp>
      <p:grpSp>
        <p:nvGrpSpPr>
          <p:cNvPr id="22" name="Group 21">
            <a:extLst>
              <a:ext uri="{FF2B5EF4-FFF2-40B4-BE49-F238E27FC236}">
                <a16:creationId xmlns:a16="http://schemas.microsoft.com/office/drawing/2014/main" xmlns="" id="{3B883DC0-949C-4C62-A2E0-8453EC8F5116}"/>
              </a:ext>
            </a:extLst>
          </p:cNvPr>
          <p:cNvGrpSpPr/>
          <p:nvPr/>
        </p:nvGrpSpPr>
        <p:grpSpPr>
          <a:xfrm>
            <a:off x="6322957" y="2758151"/>
            <a:ext cx="917098" cy="625838"/>
            <a:chOff x="782667" y="4013204"/>
            <a:chExt cx="849255" cy="584506"/>
          </a:xfrm>
        </p:grpSpPr>
        <p:pic>
          <p:nvPicPr>
            <p:cNvPr id="23" name="Picture 22">
              <a:extLst>
                <a:ext uri="{FF2B5EF4-FFF2-40B4-BE49-F238E27FC236}">
                  <a16:creationId xmlns:a16="http://schemas.microsoft.com/office/drawing/2014/main" xmlns="" id="{C5659A38-92C9-4700-86DB-9758F0A5C53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6987" y="4013204"/>
              <a:ext cx="382535" cy="412055"/>
            </a:xfrm>
            <a:prstGeom prst="rect">
              <a:avLst/>
            </a:prstGeom>
          </p:spPr>
        </p:pic>
        <p:pic>
          <p:nvPicPr>
            <p:cNvPr id="24" name="Picture 23">
              <a:extLst>
                <a:ext uri="{FF2B5EF4-FFF2-40B4-BE49-F238E27FC236}">
                  <a16:creationId xmlns:a16="http://schemas.microsoft.com/office/drawing/2014/main" xmlns="" id="{288A9DF1-9606-407D-A968-971B1DDDB3A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82667" y="4013204"/>
              <a:ext cx="365119" cy="393295"/>
            </a:xfrm>
            <a:prstGeom prst="rect">
              <a:avLst/>
            </a:prstGeom>
          </p:spPr>
        </p:pic>
        <p:pic>
          <p:nvPicPr>
            <p:cNvPr id="25" name="Picture 24">
              <a:extLst>
                <a:ext uri="{FF2B5EF4-FFF2-40B4-BE49-F238E27FC236}">
                  <a16:creationId xmlns:a16="http://schemas.microsoft.com/office/drawing/2014/main" xmlns="" id="{B285CF06-B988-4E88-BECE-8E5B912D6E1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249387" y="4185655"/>
              <a:ext cx="382535" cy="412055"/>
            </a:xfrm>
            <a:prstGeom prst="rect">
              <a:avLst/>
            </a:prstGeom>
          </p:spPr>
        </p:pic>
        <p:pic>
          <p:nvPicPr>
            <p:cNvPr id="26" name="Picture 25">
              <a:extLst>
                <a:ext uri="{FF2B5EF4-FFF2-40B4-BE49-F238E27FC236}">
                  <a16:creationId xmlns:a16="http://schemas.microsoft.com/office/drawing/2014/main" xmlns="" id="{471DFFD3-56D7-447E-9352-68392EEAE38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5067" y="4185655"/>
              <a:ext cx="365119" cy="393295"/>
            </a:xfrm>
            <a:prstGeom prst="rect">
              <a:avLst/>
            </a:prstGeom>
          </p:spPr>
        </p:pic>
      </p:grpSp>
      <p:sp>
        <p:nvSpPr>
          <p:cNvPr id="27" name="TextBox 26">
            <a:extLst>
              <a:ext uri="{FF2B5EF4-FFF2-40B4-BE49-F238E27FC236}">
                <a16:creationId xmlns:a16="http://schemas.microsoft.com/office/drawing/2014/main" xmlns="" id="{6043D59F-786E-4DF7-AFFE-D8B5CD3537F6}"/>
              </a:ext>
            </a:extLst>
          </p:cNvPr>
          <p:cNvSpPr txBox="1"/>
          <p:nvPr/>
        </p:nvSpPr>
        <p:spPr>
          <a:xfrm>
            <a:off x="5661230" y="2208897"/>
            <a:ext cx="1650705" cy="523220"/>
          </a:xfrm>
          <a:prstGeom prst="rect">
            <a:avLst/>
          </a:prstGeom>
          <a:noFill/>
        </p:spPr>
        <p:txBody>
          <a:bodyPr wrap="square" rtlCol="0">
            <a:spAutoFit/>
          </a:bodyPr>
          <a:lstStyle/>
          <a:p>
            <a:pPr lvl="1" algn="ctr"/>
            <a:r>
              <a:rPr lang="en-GB" sz="1400" b="1" dirty="0">
                <a:solidFill>
                  <a:schemeClr val="bg1"/>
                </a:solidFill>
                <a:latin typeface="Calibri Light" panose="020F0302020204030204" pitchFamily="34" charset="0"/>
                <a:cs typeface="Calibri Light" panose="020F0302020204030204" pitchFamily="34" charset="0"/>
              </a:rPr>
              <a:t>TARGETED</a:t>
            </a:r>
          </a:p>
          <a:p>
            <a:pPr lvl="1" algn="ctr"/>
            <a:r>
              <a:rPr lang="en-GB" sz="1400" b="1" dirty="0">
                <a:solidFill>
                  <a:schemeClr val="bg1"/>
                </a:solidFill>
                <a:latin typeface="Calibri Light" panose="020F0302020204030204" pitchFamily="34" charset="0"/>
                <a:cs typeface="Calibri Light" panose="020F0302020204030204" pitchFamily="34" charset="0"/>
              </a:rPr>
              <a:t>ALERTS</a:t>
            </a:r>
          </a:p>
        </p:txBody>
      </p:sp>
      <p:pic>
        <p:nvPicPr>
          <p:cNvPr id="28" name="Picture 27" descr="PredictiveLifecycle_A7.png">
            <a:extLst>
              <a:ext uri="{FF2B5EF4-FFF2-40B4-BE49-F238E27FC236}">
                <a16:creationId xmlns:a16="http://schemas.microsoft.com/office/drawing/2014/main" xmlns="" id="{4C13E871-7BD2-4E74-BCCD-B27E64CD617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69169" y="2064296"/>
            <a:ext cx="1301817" cy="1835244"/>
          </a:xfrm>
          <a:prstGeom prst="rect">
            <a:avLst/>
          </a:prstGeom>
        </p:spPr>
      </p:pic>
      <p:sp>
        <p:nvSpPr>
          <p:cNvPr id="29" name="TextBox 28">
            <a:extLst>
              <a:ext uri="{FF2B5EF4-FFF2-40B4-BE49-F238E27FC236}">
                <a16:creationId xmlns:a16="http://schemas.microsoft.com/office/drawing/2014/main" xmlns="" id="{E42DABE6-A067-4564-87FB-3CB48C699335}"/>
              </a:ext>
            </a:extLst>
          </p:cNvPr>
          <p:cNvSpPr txBox="1"/>
          <p:nvPr/>
        </p:nvSpPr>
        <p:spPr>
          <a:xfrm>
            <a:off x="4623201" y="2575355"/>
            <a:ext cx="1204078" cy="400110"/>
          </a:xfrm>
          <a:prstGeom prst="rect">
            <a:avLst/>
          </a:prstGeom>
          <a:noFill/>
        </p:spPr>
        <p:txBody>
          <a:bodyPr wrap="square" rtlCol="0" anchor="ctr">
            <a:spAutoFit/>
          </a:bodyPr>
          <a:lstStyle/>
          <a:p>
            <a:pPr algn="ctr"/>
            <a:r>
              <a:rPr lang="en-US" sz="1000" b="1" dirty="0">
                <a:solidFill>
                  <a:schemeClr val="bg1"/>
                </a:solidFill>
                <a:latin typeface="Calibri Light" panose="020F0302020204030204" pitchFamily="34" charset="0"/>
                <a:cs typeface="Calibri Light" panose="020F0302020204030204" pitchFamily="34" charset="0"/>
              </a:rPr>
              <a:t>MODEL DEPLOYMENT</a:t>
            </a:r>
          </a:p>
        </p:txBody>
      </p:sp>
      <p:pic>
        <p:nvPicPr>
          <p:cNvPr id="30" name="Picture 29">
            <a:extLst>
              <a:ext uri="{FF2B5EF4-FFF2-40B4-BE49-F238E27FC236}">
                <a16:creationId xmlns:a16="http://schemas.microsoft.com/office/drawing/2014/main" xmlns="" id="{E538E3AC-A09E-40E7-B620-2CCC13077BB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30424" y="4060294"/>
            <a:ext cx="1166759" cy="847200"/>
          </a:xfrm>
          <a:prstGeom prst="rect">
            <a:avLst/>
          </a:prstGeom>
        </p:spPr>
      </p:pic>
      <p:pic>
        <p:nvPicPr>
          <p:cNvPr id="31" name="Picture 30">
            <a:extLst>
              <a:ext uri="{FF2B5EF4-FFF2-40B4-BE49-F238E27FC236}">
                <a16:creationId xmlns:a16="http://schemas.microsoft.com/office/drawing/2014/main" xmlns="" id="{1B8EA614-F020-4BD0-B7C0-210E876F313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9311" y="719249"/>
            <a:ext cx="1348994" cy="900652"/>
          </a:xfrm>
          <a:prstGeom prst="rect">
            <a:avLst/>
          </a:prstGeom>
        </p:spPr>
      </p:pic>
    </p:spTree>
    <p:extLst>
      <p:ext uri="{BB962C8B-B14F-4D97-AF65-F5344CB8AC3E}">
        <p14:creationId xmlns:p14="http://schemas.microsoft.com/office/powerpoint/2010/main" val="1125559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10" presetClass="entr" presetSubtype="0" fill="hold" nodeType="withEffect">
                                  <p:stCondLst>
                                    <p:cond delay="0"/>
                                  </p:stCondLst>
                                  <p:childTnLst>
                                    <p:set>
                                      <p:cBhvr>
                                        <p:cTn id="69" dur="1" fill="hold">
                                          <p:stCondLst>
                                            <p:cond delay="0"/>
                                          </p:stCondLst>
                                        </p:cTn>
                                        <p:tgtEl>
                                          <p:spTgt spid="28"/>
                                        </p:tgtEl>
                                        <p:attrNameLst>
                                          <p:attrName>style.visibility</p:attrName>
                                        </p:attrNameLst>
                                      </p:cBhvr>
                                      <p:to>
                                        <p:strVal val="visible"/>
                                      </p:to>
                                    </p:set>
                                    <p:animEffect transition="in" filter="fade">
                                      <p:cBhvr>
                                        <p:cTn id="70" dur="500"/>
                                        <p:tgtEl>
                                          <p:spTgt spid="2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fade">
                                      <p:cBhvr>
                                        <p:cTn id="73" dur="500"/>
                                        <p:tgtEl>
                                          <p:spTgt spid="29"/>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par>
                                <p:cTn id="78" presetID="10" presetClass="entr" presetSubtype="0" fill="hold"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5" grpId="0"/>
      <p:bldP spid="16" grpId="0"/>
      <p:bldP spid="17" grpId="0"/>
      <p:bldP spid="18" grpId="0"/>
      <p:bldP spid="19" grpId="0"/>
      <p:bldP spid="20" grpId="0"/>
      <p:bldP spid="21" grpId="0"/>
      <p:bldP spid="27" grpId="0"/>
      <p:bldP spid="2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2A3103-AEF3-4A17-AB0A-B61DBCE784E0}"/>
              </a:ext>
            </a:extLst>
          </p:cNvPr>
          <p:cNvSpPr>
            <a:spLocks noGrp="1"/>
          </p:cNvSpPr>
          <p:nvPr>
            <p:ph type="title"/>
          </p:nvPr>
        </p:nvSpPr>
        <p:spPr>
          <a:xfrm>
            <a:off x="626364" y="172546"/>
            <a:ext cx="7891272" cy="457200"/>
          </a:xfrm>
        </p:spPr>
        <p:txBody>
          <a:bodyPr/>
          <a:lstStyle/>
          <a:p>
            <a:r>
              <a:rPr lang="en-US" b="1" u="sng" dirty="0"/>
              <a:t>Process</a:t>
            </a:r>
            <a:r>
              <a:rPr lang="en-US" b="1" dirty="0"/>
              <a:t>: Analytics Life Cycle</a:t>
            </a:r>
          </a:p>
        </p:txBody>
      </p:sp>
      <p:sp>
        <p:nvSpPr>
          <p:cNvPr id="8" name="TextBox 7">
            <a:extLst>
              <a:ext uri="{FF2B5EF4-FFF2-40B4-BE49-F238E27FC236}">
                <a16:creationId xmlns:a16="http://schemas.microsoft.com/office/drawing/2014/main" xmlns="" id="{324085A6-39FC-4A24-83AF-5587AA2A8311}"/>
              </a:ext>
            </a:extLst>
          </p:cNvPr>
          <p:cNvSpPr txBox="1"/>
          <p:nvPr/>
        </p:nvSpPr>
        <p:spPr>
          <a:xfrm>
            <a:off x="1006026" y="634898"/>
            <a:ext cx="2444578" cy="677108"/>
          </a:xfrm>
          <a:prstGeom prst="rect">
            <a:avLst/>
          </a:prstGeom>
          <a:solidFill>
            <a:schemeClr val="bg1"/>
          </a:solidFill>
        </p:spPr>
        <p:txBody>
          <a:bodyPr wrap="square" rtlCol="0">
            <a:spAutoFit/>
          </a:bodyPr>
          <a:lstStyle/>
          <a:p>
            <a:r>
              <a:rPr lang="en-US" sz="1400" b="1" dirty="0">
                <a:solidFill>
                  <a:schemeClr val="tx1">
                    <a:lumMod val="85000"/>
                    <a:lumOff val="15000"/>
                  </a:schemeClr>
                </a:solidFill>
                <a:latin typeface="+mj-lt"/>
              </a:rPr>
              <a:t>       </a:t>
            </a:r>
            <a:endParaRPr lang="en-US" sz="1000" b="1" dirty="0">
              <a:solidFill>
                <a:schemeClr val="tx1">
                  <a:lumMod val="85000"/>
                  <a:lumOff val="15000"/>
                </a:schemeClr>
              </a:solidFill>
              <a:latin typeface="+mj-lt"/>
            </a:endParaRPr>
          </a:p>
          <a:p>
            <a:r>
              <a:rPr lang="en-US" sz="2400" b="1" dirty="0">
                <a:solidFill>
                  <a:schemeClr val="tx1">
                    <a:lumMod val="85000"/>
                    <a:lumOff val="15000"/>
                  </a:schemeClr>
                </a:solidFill>
                <a:latin typeface="+mj-lt"/>
              </a:rPr>
              <a:t>   Raw Data</a:t>
            </a:r>
          </a:p>
        </p:txBody>
      </p:sp>
      <p:sp>
        <p:nvSpPr>
          <p:cNvPr id="11" name="TextBox 10">
            <a:extLst>
              <a:ext uri="{FF2B5EF4-FFF2-40B4-BE49-F238E27FC236}">
                <a16:creationId xmlns:a16="http://schemas.microsoft.com/office/drawing/2014/main" xmlns="" id="{B29B738F-8D35-407A-BB18-0DB87627CF80}"/>
              </a:ext>
            </a:extLst>
          </p:cNvPr>
          <p:cNvSpPr txBox="1"/>
          <p:nvPr/>
        </p:nvSpPr>
        <p:spPr>
          <a:xfrm>
            <a:off x="3387899" y="848719"/>
            <a:ext cx="1544348" cy="830997"/>
          </a:xfrm>
          <a:prstGeom prst="rect">
            <a:avLst/>
          </a:prstGeom>
          <a:solidFill>
            <a:schemeClr val="bg1"/>
          </a:solidFill>
        </p:spPr>
        <p:txBody>
          <a:bodyPr wrap="square" rtlCol="0">
            <a:spAutoFit/>
          </a:bodyPr>
          <a:lstStyle/>
          <a:p>
            <a:r>
              <a:rPr lang="en-US" sz="2400" b="1" dirty="0">
                <a:solidFill>
                  <a:schemeClr val="tx1">
                    <a:lumMod val="85000"/>
                    <a:lumOff val="15000"/>
                  </a:schemeClr>
                </a:solidFill>
                <a:latin typeface="+mj-lt"/>
              </a:rPr>
              <a:t>Features    </a:t>
            </a:r>
          </a:p>
          <a:p>
            <a:endParaRPr lang="en-US" sz="2400" b="1" dirty="0">
              <a:solidFill>
                <a:schemeClr val="tx1">
                  <a:lumMod val="85000"/>
                  <a:lumOff val="15000"/>
                </a:schemeClr>
              </a:solidFill>
              <a:latin typeface="+mj-lt"/>
            </a:endParaRPr>
          </a:p>
        </p:txBody>
      </p:sp>
      <p:sp>
        <p:nvSpPr>
          <p:cNvPr id="12" name="TextBox 11">
            <a:extLst>
              <a:ext uri="{FF2B5EF4-FFF2-40B4-BE49-F238E27FC236}">
                <a16:creationId xmlns:a16="http://schemas.microsoft.com/office/drawing/2014/main" xmlns="" id="{AEB8B9C2-7526-4473-AD5B-4258DE383432}"/>
              </a:ext>
            </a:extLst>
          </p:cNvPr>
          <p:cNvSpPr txBox="1"/>
          <p:nvPr/>
        </p:nvSpPr>
        <p:spPr>
          <a:xfrm>
            <a:off x="5293119" y="833203"/>
            <a:ext cx="1649190" cy="830997"/>
          </a:xfrm>
          <a:prstGeom prst="rect">
            <a:avLst/>
          </a:prstGeom>
          <a:solidFill>
            <a:schemeClr val="bg1"/>
          </a:solidFill>
        </p:spPr>
        <p:txBody>
          <a:bodyPr wrap="square" rtlCol="0">
            <a:spAutoFit/>
          </a:bodyPr>
          <a:lstStyle/>
          <a:p>
            <a:r>
              <a:rPr lang="en-US" sz="2400" b="1" dirty="0">
                <a:solidFill>
                  <a:schemeClr val="tx1">
                    <a:lumMod val="85000"/>
                    <a:lumOff val="15000"/>
                  </a:schemeClr>
                </a:solidFill>
                <a:latin typeface="+mj-lt"/>
              </a:rPr>
              <a:t> Modeling</a:t>
            </a:r>
          </a:p>
          <a:p>
            <a:endParaRPr lang="en-US" sz="2400" b="1" dirty="0">
              <a:solidFill>
                <a:schemeClr val="tx1">
                  <a:lumMod val="85000"/>
                  <a:lumOff val="15000"/>
                </a:schemeClr>
              </a:solidFill>
              <a:latin typeface="+mj-lt"/>
            </a:endParaRPr>
          </a:p>
        </p:txBody>
      </p:sp>
      <p:sp>
        <p:nvSpPr>
          <p:cNvPr id="13" name="TextBox 12">
            <a:extLst>
              <a:ext uri="{FF2B5EF4-FFF2-40B4-BE49-F238E27FC236}">
                <a16:creationId xmlns:a16="http://schemas.microsoft.com/office/drawing/2014/main" xmlns="" id="{F09C308C-3628-41CC-93CB-08358AC76C17}"/>
              </a:ext>
            </a:extLst>
          </p:cNvPr>
          <p:cNvSpPr txBox="1"/>
          <p:nvPr/>
        </p:nvSpPr>
        <p:spPr>
          <a:xfrm>
            <a:off x="6907260" y="844139"/>
            <a:ext cx="1307089" cy="830997"/>
          </a:xfrm>
          <a:prstGeom prst="rect">
            <a:avLst/>
          </a:prstGeom>
          <a:solidFill>
            <a:schemeClr val="bg1"/>
          </a:solidFill>
        </p:spPr>
        <p:txBody>
          <a:bodyPr wrap="none" rtlCol="0">
            <a:spAutoFit/>
          </a:bodyPr>
          <a:lstStyle/>
          <a:p>
            <a:r>
              <a:rPr lang="en-US" sz="2400" b="1" dirty="0">
                <a:solidFill>
                  <a:schemeClr val="tx1">
                    <a:lumMod val="85000"/>
                    <a:lumOff val="15000"/>
                  </a:schemeClr>
                </a:solidFill>
                <a:latin typeface="+mj-lt"/>
              </a:rPr>
              <a:t>Insights  </a:t>
            </a:r>
          </a:p>
          <a:p>
            <a:endParaRPr lang="en-US" sz="2400" b="1" dirty="0">
              <a:solidFill>
                <a:schemeClr val="tx1">
                  <a:lumMod val="85000"/>
                  <a:lumOff val="15000"/>
                </a:schemeClr>
              </a:solidFill>
              <a:latin typeface="+mj-lt"/>
            </a:endParaRPr>
          </a:p>
        </p:txBody>
      </p:sp>
      <p:sp>
        <p:nvSpPr>
          <p:cNvPr id="18" name="TextBox 17">
            <a:extLst>
              <a:ext uri="{FF2B5EF4-FFF2-40B4-BE49-F238E27FC236}">
                <a16:creationId xmlns:a16="http://schemas.microsoft.com/office/drawing/2014/main" xmlns="" id="{37A78670-3AE8-4F4B-8BE4-4479BD5DE9BE}"/>
              </a:ext>
            </a:extLst>
          </p:cNvPr>
          <p:cNvSpPr txBox="1"/>
          <p:nvPr/>
        </p:nvSpPr>
        <p:spPr>
          <a:xfrm>
            <a:off x="2708601" y="863257"/>
            <a:ext cx="766720" cy="461665"/>
          </a:xfrm>
          <a:prstGeom prst="rect">
            <a:avLst/>
          </a:prstGeom>
          <a:solidFill>
            <a:schemeClr val="bg1"/>
          </a:solidFill>
        </p:spPr>
        <p:txBody>
          <a:bodyPr wrap="square" rtlCol="0">
            <a:spAutoFit/>
          </a:bodyPr>
          <a:lstStyle/>
          <a:p>
            <a:pPr algn="ctr"/>
            <a:r>
              <a:rPr lang="en-US" sz="1200" b="1" dirty="0">
                <a:solidFill>
                  <a:schemeClr val="tx1">
                    <a:lumMod val="85000"/>
                    <a:lumOff val="15000"/>
                  </a:schemeClr>
                </a:solidFill>
                <a:latin typeface="+mj-lt"/>
              </a:rPr>
              <a:t>Feature Selection</a:t>
            </a:r>
          </a:p>
        </p:txBody>
      </p:sp>
      <p:sp>
        <p:nvSpPr>
          <p:cNvPr id="19" name="TextBox 18">
            <a:extLst>
              <a:ext uri="{FF2B5EF4-FFF2-40B4-BE49-F238E27FC236}">
                <a16:creationId xmlns:a16="http://schemas.microsoft.com/office/drawing/2014/main" xmlns="" id="{E2FD8F2C-66F2-4442-9262-DE792304B59E}"/>
              </a:ext>
            </a:extLst>
          </p:cNvPr>
          <p:cNvSpPr txBox="1"/>
          <p:nvPr/>
        </p:nvSpPr>
        <p:spPr>
          <a:xfrm>
            <a:off x="4584109" y="864919"/>
            <a:ext cx="876976" cy="830997"/>
          </a:xfrm>
          <a:prstGeom prst="rect">
            <a:avLst/>
          </a:prstGeom>
          <a:solidFill>
            <a:schemeClr val="bg1"/>
          </a:solidFill>
        </p:spPr>
        <p:txBody>
          <a:bodyPr wrap="square" lIns="18288" rIns="18288" rtlCol="0">
            <a:spAutoFit/>
          </a:bodyPr>
          <a:lstStyle/>
          <a:p>
            <a:pPr algn="ctr"/>
            <a:r>
              <a:rPr lang="en-US" sz="1200" b="1" dirty="0">
                <a:solidFill>
                  <a:schemeClr val="tx1">
                    <a:lumMod val="85000"/>
                    <a:lumOff val="15000"/>
                  </a:schemeClr>
                </a:solidFill>
                <a:latin typeface="+mj-lt"/>
              </a:rPr>
              <a:t>Feature Engineering</a:t>
            </a:r>
          </a:p>
          <a:p>
            <a:pPr algn="ctr"/>
            <a:endParaRPr lang="en-US" sz="1200" b="1" dirty="0">
              <a:solidFill>
                <a:schemeClr val="tx1">
                  <a:lumMod val="85000"/>
                  <a:lumOff val="15000"/>
                </a:schemeClr>
              </a:solidFill>
              <a:latin typeface="+mj-lt"/>
            </a:endParaRPr>
          </a:p>
          <a:p>
            <a:pPr algn="ctr"/>
            <a:endParaRPr lang="en-US" sz="1200" b="1" dirty="0">
              <a:solidFill>
                <a:schemeClr val="tx1">
                  <a:lumMod val="85000"/>
                  <a:lumOff val="15000"/>
                </a:schemeClr>
              </a:solidFill>
              <a:latin typeface="+mj-lt"/>
            </a:endParaRPr>
          </a:p>
        </p:txBody>
      </p:sp>
      <p:pic>
        <p:nvPicPr>
          <p:cNvPr id="1026" name="Picture 2" descr="Image result for sas  lifecycle">
            <a:extLst>
              <a:ext uri="{FF2B5EF4-FFF2-40B4-BE49-F238E27FC236}">
                <a16:creationId xmlns:a16="http://schemas.microsoft.com/office/drawing/2014/main" xmlns="" id="{A586CAD4-A7EB-4B0A-8885-C1805BF258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0277" y="1312006"/>
            <a:ext cx="5941224" cy="331305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095B49F6-0DF3-41FF-8FD2-D7AD407E25E2}"/>
              </a:ext>
            </a:extLst>
          </p:cNvPr>
          <p:cNvSpPr txBox="1"/>
          <p:nvPr/>
        </p:nvSpPr>
        <p:spPr>
          <a:xfrm>
            <a:off x="2149723" y="4689131"/>
            <a:ext cx="5194179" cy="338554"/>
          </a:xfrm>
          <a:prstGeom prst="rect">
            <a:avLst/>
          </a:prstGeom>
          <a:noFill/>
        </p:spPr>
        <p:txBody>
          <a:bodyPr wrap="none" rtlCol="0">
            <a:spAutoFit/>
          </a:bodyPr>
          <a:lstStyle/>
          <a:p>
            <a:r>
              <a:rPr lang="en-US" sz="1600" dirty="0">
                <a:hlinkClick r:id="rId4"/>
              </a:rPr>
              <a:t>SAS: ‘Managing the Analytics Life Cycle for Decisions at Scale’</a:t>
            </a:r>
            <a:endParaRPr lang="nl-NL" sz="1600" dirty="0"/>
          </a:p>
        </p:txBody>
      </p:sp>
    </p:spTree>
    <p:extLst>
      <p:ext uri="{BB962C8B-B14F-4D97-AF65-F5344CB8AC3E}">
        <p14:creationId xmlns:p14="http://schemas.microsoft.com/office/powerpoint/2010/main" val="71488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8A0135-95ED-48D0-AC84-89E0535CBBE7}"/>
              </a:ext>
            </a:extLst>
          </p:cNvPr>
          <p:cNvSpPr>
            <a:spLocks noGrp="1"/>
          </p:cNvSpPr>
          <p:nvPr>
            <p:ph type="title"/>
          </p:nvPr>
        </p:nvSpPr>
        <p:spPr>
          <a:xfrm>
            <a:off x="626364" y="158968"/>
            <a:ext cx="7891272" cy="457200"/>
          </a:xfrm>
        </p:spPr>
        <p:txBody>
          <a:bodyPr/>
          <a:lstStyle/>
          <a:p>
            <a:r>
              <a:rPr lang="en-US" b="1" dirty="0"/>
              <a:t>Three Year Genesis of This Talk</a:t>
            </a:r>
          </a:p>
        </p:txBody>
      </p:sp>
      <p:sp>
        <p:nvSpPr>
          <p:cNvPr id="4" name="Content Placeholder 3">
            <a:extLst>
              <a:ext uri="{FF2B5EF4-FFF2-40B4-BE49-F238E27FC236}">
                <a16:creationId xmlns:a16="http://schemas.microsoft.com/office/drawing/2014/main" xmlns="" id="{2FDCEEF7-05FE-411E-BA60-343782280275}"/>
              </a:ext>
            </a:extLst>
          </p:cNvPr>
          <p:cNvSpPr>
            <a:spLocks noGrp="1"/>
          </p:cNvSpPr>
          <p:nvPr>
            <p:ph sz="quarter" idx="11"/>
          </p:nvPr>
        </p:nvSpPr>
        <p:spPr>
          <a:xfrm>
            <a:off x="569556" y="697350"/>
            <a:ext cx="7891272" cy="1325891"/>
          </a:xfrm>
        </p:spPr>
        <p:txBody>
          <a:bodyPr>
            <a:normAutofit/>
          </a:bodyPr>
          <a:lstStyle/>
          <a:p>
            <a:pPr marL="0" indent="0">
              <a:buNone/>
            </a:pPr>
            <a:r>
              <a:rPr lang="en-US" sz="2400" b="1" dirty="0" err="1"/>
              <a:t>FloCon</a:t>
            </a:r>
            <a:r>
              <a:rPr lang="en-US" sz="2400" b="1" dirty="0"/>
              <a:t> 2017 – San Diego</a:t>
            </a:r>
          </a:p>
          <a:p>
            <a:r>
              <a:rPr lang="en-US" sz="2400" dirty="0"/>
              <a:t>Interest in data analytics percolates</a:t>
            </a:r>
          </a:p>
          <a:p>
            <a:r>
              <a:rPr lang="en-US" sz="2400" dirty="0"/>
              <a:t>But… cautious: ‘</a:t>
            </a:r>
            <a:r>
              <a:rPr lang="en-US" sz="2400" i="1" dirty="0"/>
              <a:t>I’ll know it when I see it</a:t>
            </a:r>
            <a:r>
              <a:rPr lang="en-US" sz="2400" dirty="0"/>
              <a:t>’</a:t>
            </a:r>
          </a:p>
          <a:p>
            <a:endParaRPr lang="en-US" sz="2400" dirty="0"/>
          </a:p>
        </p:txBody>
      </p:sp>
      <p:pic>
        <p:nvPicPr>
          <p:cNvPr id="2050" name="Picture 2" descr="Image result for san diego">
            <a:extLst>
              <a:ext uri="{FF2B5EF4-FFF2-40B4-BE49-F238E27FC236}">
                <a16:creationId xmlns:a16="http://schemas.microsoft.com/office/drawing/2014/main" xmlns="" id="{05032F40-D3F3-4285-BF98-F793BB3925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6703" y="1952602"/>
            <a:ext cx="5602014" cy="280100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E88EEEAF-76D2-443B-AB65-09204388BA88}"/>
              </a:ext>
            </a:extLst>
          </p:cNvPr>
          <p:cNvSpPr txBox="1"/>
          <p:nvPr/>
        </p:nvSpPr>
        <p:spPr>
          <a:xfrm>
            <a:off x="1385185" y="4746155"/>
            <a:ext cx="1253869" cy="184666"/>
          </a:xfrm>
          <a:prstGeom prst="rect">
            <a:avLst/>
          </a:prstGeom>
          <a:noFill/>
        </p:spPr>
        <p:txBody>
          <a:bodyPr wrap="none" rtlCol="0">
            <a:spAutoFit/>
          </a:bodyPr>
          <a:lstStyle/>
          <a:p>
            <a:r>
              <a:rPr lang="en-US" sz="600" dirty="0">
                <a:solidFill>
                  <a:schemeClr val="bg1">
                    <a:lumMod val="85000"/>
                  </a:schemeClr>
                </a:solidFill>
              </a:rPr>
              <a:t>Labeled for non-commercial reuse</a:t>
            </a:r>
          </a:p>
        </p:txBody>
      </p:sp>
    </p:spTree>
    <p:extLst>
      <p:ext uri="{BB962C8B-B14F-4D97-AF65-F5344CB8AC3E}">
        <p14:creationId xmlns:p14="http://schemas.microsoft.com/office/powerpoint/2010/main" val="202956063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54DEDF-7777-4B2E-BFC9-8BF8B3C4E6A7}"/>
              </a:ext>
            </a:extLst>
          </p:cNvPr>
          <p:cNvSpPr>
            <a:spLocks noGrp="1"/>
          </p:cNvSpPr>
          <p:nvPr>
            <p:ph type="title"/>
          </p:nvPr>
        </p:nvSpPr>
        <p:spPr>
          <a:xfrm>
            <a:off x="88710" y="94748"/>
            <a:ext cx="8952931" cy="457200"/>
          </a:xfrm>
        </p:spPr>
        <p:txBody>
          <a:bodyPr/>
          <a:lstStyle/>
          <a:p>
            <a:r>
              <a:rPr lang="en-US" b="1" u="sng" dirty="0"/>
              <a:t>Technology</a:t>
            </a:r>
            <a:r>
              <a:rPr lang="en-US" b="1" dirty="0"/>
              <a:t>: Architect Exploratory &amp; Detection Platforms*</a:t>
            </a:r>
          </a:p>
        </p:txBody>
      </p:sp>
      <p:sp>
        <p:nvSpPr>
          <p:cNvPr id="3" name="Text Placeholder 2">
            <a:extLst>
              <a:ext uri="{FF2B5EF4-FFF2-40B4-BE49-F238E27FC236}">
                <a16:creationId xmlns:a16="http://schemas.microsoft.com/office/drawing/2014/main" xmlns="" id="{3ABBB3A3-85CB-4182-820A-35AF9071C59D}"/>
              </a:ext>
            </a:extLst>
          </p:cNvPr>
          <p:cNvSpPr>
            <a:spLocks noGrp="1"/>
          </p:cNvSpPr>
          <p:nvPr>
            <p:ph type="body" sz="quarter" idx="12"/>
          </p:nvPr>
        </p:nvSpPr>
        <p:spPr>
          <a:xfrm flipH="1">
            <a:off x="497578" y="532840"/>
            <a:ext cx="7891272" cy="274320"/>
          </a:xfrm>
        </p:spPr>
        <p:txBody>
          <a:bodyPr/>
          <a:lstStyle/>
          <a:p>
            <a:r>
              <a:rPr lang="en-US" dirty="0"/>
              <a:t>Functional Architectural Segmentation</a:t>
            </a:r>
          </a:p>
        </p:txBody>
      </p:sp>
      <p:sp>
        <p:nvSpPr>
          <p:cNvPr id="5" name="Rectangle: Rounded Corners 4">
            <a:extLst>
              <a:ext uri="{FF2B5EF4-FFF2-40B4-BE49-F238E27FC236}">
                <a16:creationId xmlns:a16="http://schemas.microsoft.com/office/drawing/2014/main" xmlns="" id="{4B9C6992-DAAF-469D-9492-27DBA06862D0}"/>
              </a:ext>
            </a:extLst>
          </p:cNvPr>
          <p:cNvSpPr/>
          <p:nvPr/>
        </p:nvSpPr>
        <p:spPr>
          <a:xfrm>
            <a:off x="799375" y="1146834"/>
            <a:ext cx="2921375" cy="1184564"/>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bg1"/>
                </a:solidFill>
                <a:latin typeface="Arial" panose="020B0604020202020204" pitchFamily="34" charset="0"/>
                <a:cs typeface="Arial" panose="020B0604020202020204" pitchFamily="34" charset="0"/>
              </a:rPr>
              <a:t>Exploratory ‘big data’ repository</a:t>
            </a:r>
          </a:p>
        </p:txBody>
      </p:sp>
      <p:sp>
        <p:nvSpPr>
          <p:cNvPr id="6" name="TextBox 5">
            <a:extLst>
              <a:ext uri="{FF2B5EF4-FFF2-40B4-BE49-F238E27FC236}">
                <a16:creationId xmlns:a16="http://schemas.microsoft.com/office/drawing/2014/main" xmlns="" id="{299A96DB-E7CA-4638-8816-D949E8620A91}"/>
              </a:ext>
            </a:extLst>
          </p:cNvPr>
          <p:cNvSpPr txBox="1"/>
          <p:nvPr/>
        </p:nvSpPr>
        <p:spPr>
          <a:xfrm>
            <a:off x="458277" y="4319986"/>
            <a:ext cx="8227445" cy="400110"/>
          </a:xfrm>
          <a:prstGeom prst="rect">
            <a:avLst/>
          </a:prstGeom>
          <a:noFill/>
        </p:spPr>
        <p:txBody>
          <a:bodyPr wrap="none" rtlCol="0">
            <a:spAutoFit/>
          </a:bodyPr>
          <a:lstStyle/>
          <a:p>
            <a:r>
              <a:rPr lang="en-US" sz="2000" i="1" dirty="0"/>
              <a:t>* Runs counter to the industry vendor stance of store ‘all-the-data-all-the-time’</a:t>
            </a:r>
          </a:p>
        </p:txBody>
      </p:sp>
      <p:sp>
        <p:nvSpPr>
          <p:cNvPr id="7" name="Rectangle: Rounded Corners 6">
            <a:extLst>
              <a:ext uri="{FF2B5EF4-FFF2-40B4-BE49-F238E27FC236}">
                <a16:creationId xmlns:a16="http://schemas.microsoft.com/office/drawing/2014/main" xmlns="" id="{1DC655CB-0DFD-4E8E-BDB9-3DC093A1CC29}"/>
              </a:ext>
            </a:extLst>
          </p:cNvPr>
          <p:cNvSpPr/>
          <p:nvPr/>
        </p:nvSpPr>
        <p:spPr>
          <a:xfrm>
            <a:off x="5044915" y="1163985"/>
            <a:ext cx="2992539" cy="1184564"/>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bg1"/>
                </a:solidFill>
                <a:latin typeface="Arial" panose="020B0604020202020204" pitchFamily="34" charset="0"/>
                <a:cs typeface="Arial" panose="020B0604020202020204" pitchFamily="34" charset="0"/>
              </a:rPr>
              <a:t>Operationally focused detection</a:t>
            </a:r>
          </a:p>
        </p:txBody>
      </p:sp>
      <p:sp>
        <p:nvSpPr>
          <p:cNvPr id="8" name="Rectangle: Rounded Corners 7">
            <a:extLst>
              <a:ext uri="{FF2B5EF4-FFF2-40B4-BE49-F238E27FC236}">
                <a16:creationId xmlns:a16="http://schemas.microsoft.com/office/drawing/2014/main" xmlns="" id="{70313C42-4326-45B4-BEE2-B17F9E83AE18}"/>
              </a:ext>
            </a:extLst>
          </p:cNvPr>
          <p:cNvSpPr/>
          <p:nvPr/>
        </p:nvSpPr>
        <p:spPr>
          <a:xfrm>
            <a:off x="1294190" y="2452530"/>
            <a:ext cx="1931746" cy="663835"/>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latin typeface="Arial" panose="020B0604020202020204" pitchFamily="34" charset="0"/>
                <a:cs typeface="Arial" panose="020B0604020202020204" pitchFamily="34" charset="0"/>
              </a:rPr>
              <a:t>Feature engineering</a:t>
            </a:r>
          </a:p>
          <a:p>
            <a:pPr algn="ctr"/>
            <a:r>
              <a:rPr lang="en-US" sz="1000" dirty="0">
                <a:solidFill>
                  <a:schemeClr val="bg1"/>
                </a:solidFill>
                <a:latin typeface="Arial" panose="020B0604020202020204" pitchFamily="34" charset="0"/>
                <a:cs typeface="Arial" panose="020B0604020202020204" pitchFamily="34" charset="0"/>
              </a:rPr>
              <a:t>i.e. selection, refinement, binning, correlations</a:t>
            </a:r>
          </a:p>
        </p:txBody>
      </p:sp>
      <p:sp>
        <p:nvSpPr>
          <p:cNvPr id="9" name="Rectangle: Rounded Corners 8">
            <a:extLst>
              <a:ext uri="{FF2B5EF4-FFF2-40B4-BE49-F238E27FC236}">
                <a16:creationId xmlns:a16="http://schemas.microsoft.com/office/drawing/2014/main" xmlns="" id="{8C828385-D833-404A-A5D2-0CF39CD20934}"/>
              </a:ext>
            </a:extLst>
          </p:cNvPr>
          <p:cNvSpPr/>
          <p:nvPr/>
        </p:nvSpPr>
        <p:spPr>
          <a:xfrm>
            <a:off x="5575311" y="2487425"/>
            <a:ext cx="2115547" cy="611618"/>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latin typeface="Arial" panose="020B0604020202020204" pitchFamily="34" charset="0"/>
                <a:cs typeface="Arial" panose="020B0604020202020204" pitchFamily="34" charset="0"/>
              </a:rPr>
              <a:t>Canonical ontology / schemas</a:t>
            </a:r>
          </a:p>
        </p:txBody>
      </p:sp>
      <p:sp>
        <p:nvSpPr>
          <p:cNvPr id="10" name="Rectangle: Rounded Corners 9">
            <a:extLst>
              <a:ext uri="{FF2B5EF4-FFF2-40B4-BE49-F238E27FC236}">
                <a16:creationId xmlns:a16="http://schemas.microsoft.com/office/drawing/2014/main" xmlns="" id="{0D5023CC-A15B-49D1-852D-CE5AF703B5BF}"/>
              </a:ext>
            </a:extLst>
          </p:cNvPr>
          <p:cNvSpPr/>
          <p:nvPr/>
        </p:nvSpPr>
        <p:spPr>
          <a:xfrm>
            <a:off x="5575312" y="3226312"/>
            <a:ext cx="2115548" cy="742574"/>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u="sng" dirty="0">
                <a:solidFill>
                  <a:schemeClr val="bg1"/>
                </a:solidFill>
                <a:latin typeface="Arial" panose="020B0604020202020204" pitchFamily="34" charset="0"/>
                <a:cs typeface="Arial" panose="020B0604020202020204" pitchFamily="34" charset="0"/>
              </a:rPr>
              <a:t>Analytical models</a:t>
            </a:r>
            <a:endParaRPr lang="en-US" sz="14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tatistical</a:t>
            </a: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upervised</a:t>
            </a:r>
          </a:p>
        </p:txBody>
      </p:sp>
      <p:sp>
        <p:nvSpPr>
          <p:cNvPr id="11" name="Rectangle: Rounded Corners 10">
            <a:extLst>
              <a:ext uri="{FF2B5EF4-FFF2-40B4-BE49-F238E27FC236}">
                <a16:creationId xmlns:a16="http://schemas.microsoft.com/office/drawing/2014/main" xmlns="" id="{09897A04-6D08-4A07-B48C-C2E409B7B800}"/>
              </a:ext>
            </a:extLst>
          </p:cNvPr>
          <p:cNvSpPr/>
          <p:nvPr/>
        </p:nvSpPr>
        <p:spPr>
          <a:xfrm>
            <a:off x="1294190" y="3226312"/>
            <a:ext cx="1931746" cy="742574"/>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u="sng" dirty="0">
                <a:solidFill>
                  <a:schemeClr val="bg1"/>
                </a:solidFill>
                <a:latin typeface="Arial" panose="020B0604020202020204" pitchFamily="34" charset="0"/>
                <a:cs typeface="Arial" panose="020B0604020202020204" pitchFamily="34" charset="0"/>
              </a:rPr>
              <a:t>Analytical models</a:t>
            </a:r>
            <a:endParaRPr lang="en-US" sz="14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Descriptive</a:t>
            </a: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Unsupervised</a:t>
            </a:r>
          </a:p>
        </p:txBody>
      </p:sp>
      <p:sp>
        <p:nvSpPr>
          <p:cNvPr id="14" name="Arrow: Left-Right 13">
            <a:extLst>
              <a:ext uri="{FF2B5EF4-FFF2-40B4-BE49-F238E27FC236}">
                <a16:creationId xmlns:a16="http://schemas.microsoft.com/office/drawing/2014/main" xmlns="" id="{5B8331BE-C642-4ADB-9B2E-5AE1D090B25D}"/>
              </a:ext>
            </a:extLst>
          </p:cNvPr>
          <p:cNvSpPr/>
          <p:nvPr/>
        </p:nvSpPr>
        <p:spPr>
          <a:xfrm>
            <a:off x="3352701" y="2474967"/>
            <a:ext cx="2043610" cy="611618"/>
          </a:xfrm>
          <a:prstGeom prst="leftRightArrow">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xmlns="" id="{31059D0C-8839-441B-AF6F-EB875F30F43C}"/>
              </a:ext>
            </a:extLst>
          </p:cNvPr>
          <p:cNvSpPr/>
          <p:nvPr/>
        </p:nvSpPr>
        <p:spPr>
          <a:xfrm>
            <a:off x="3464565" y="3226312"/>
            <a:ext cx="1931746" cy="908153"/>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u="sng" dirty="0">
                <a:solidFill>
                  <a:schemeClr val="bg1"/>
                </a:solidFill>
                <a:latin typeface="Arial" panose="020B0604020202020204" pitchFamily="34" charset="0"/>
                <a:cs typeface="Arial" panose="020B0604020202020204" pitchFamily="34" charset="0"/>
              </a:rPr>
              <a:t>Analytical models</a:t>
            </a:r>
            <a:endParaRPr lang="en-US" sz="12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Semi-supervised</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Human-in-the-loop</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Reinforcement</a:t>
            </a:r>
          </a:p>
        </p:txBody>
      </p:sp>
    </p:spTree>
    <p:extLst>
      <p:ext uri="{BB962C8B-B14F-4D97-AF65-F5344CB8AC3E}">
        <p14:creationId xmlns:p14="http://schemas.microsoft.com/office/powerpoint/2010/main" val="2924987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animBg="1"/>
      <p:bldP spid="14"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A306B-77FA-4AA5-9DB3-C4143FDED832}"/>
              </a:ext>
            </a:extLst>
          </p:cNvPr>
          <p:cNvSpPr>
            <a:spLocks noGrp="1"/>
          </p:cNvSpPr>
          <p:nvPr>
            <p:ph type="title"/>
          </p:nvPr>
        </p:nvSpPr>
        <p:spPr>
          <a:xfrm>
            <a:off x="-41564" y="2000948"/>
            <a:ext cx="9144000" cy="769441"/>
          </a:xfrm>
        </p:spPr>
        <p:txBody>
          <a:bodyPr/>
          <a:lstStyle/>
          <a:p>
            <a:r>
              <a:rPr lang="en-US" sz="4400" b="1" dirty="0"/>
              <a:t>Summary</a:t>
            </a:r>
          </a:p>
        </p:txBody>
      </p:sp>
    </p:spTree>
    <p:extLst>
      <p:ext uri="{BB962C8B-B14F-4D97-AF65-F5344CB8AC3E}">
        <p14:creationId xmlns:p14="http://schemas.microsoft.com/office/powerpoint/2010/main" val="11127765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65C066-C9E9-4B1D-ACC0-067423DCDD93}"/>
              </a:ext>
            </a:extLst>
          </p:cNvPr>
          <p:cNvSpPr>
            <a:spLocks noGrp="1"/>
          </p:cNvSpPr>
          <p:nvPr>
            <p:ph type="title"/>
          </p:nvPr>
        </p:nvSpPr>
        <p:spPr>
          <a:xfrm>
            <a:off x="2141981" y="117259"/>
            <a:ext cx="5300330" cy="457200"/>
          </a:xfrm>
        </p:spPr>
        <p:txBody>
          <a:bodyPr/>
          <a:lstStyle/>
          <a:p>
            <a:r>
              <a:rPr lang="en-US" b="1" dirty="0"/>
              <a:t>Cybersecurity Data Science (CSDS)</a:t>
            </a:r>
          </a:p>
        </p:txBody>
      </p:sp>
      <p:sp>
        <p:nvSpPr>
          <p:cNvPr id="4" name="Content Placeholder 3">
            <a:extLst>
              <a:ext uri="{FF2B5EF4-FFF2-40B4-BE49-F238E27FC236}">
                <a16:creationId xmlns:a16="http://schemas.microsoft.com/office/drawing/2014/main" xmlns="" id="{2C62FF45-9B1B-49E7-B91F-8CCC20B8737E}"/>
              </a:ext>
            </a:extLst>
          </p:cNvPr>
          <p:cNvSpPr>
            <a:spLocks noGrp="1"/>
          </p:cNvSpPr>
          <p:nvPr>
            <p:ph sz="quarter" idx="11"/>
          </p:nvPr>
        </p:nvSpPr>
        <p:spPr>
          <a:xfrm>
            <a:off x="342421" y="574459"/>
            <a:ext cx="8459157" cy="4438455"/>
          </a:xfrm>
        </p:spPr>
        <p:txBody>
          <a:bodyPr>
            <a:normAutofit/>
          </a:bodyPr>
          <a:lstStyle/>
          <a:p>
            <a:pPr marL="182880" lvl="1" indent="0">
              <a:buNone/>
            </a:pPr>
            <a:endParaRPr lang="en-US" sz="300" dirty="0"/>
          </a:p>
          <a:p>
            <a:r>
              <a:rPr lang="en-US" sz="2800" b="1" u="sng" dirty="0"/>
              <a:t>Process of Professionalization</a:t>
            </a:r>
            <a:r>
              <a:rPr lang="en-US" sz="2800" b="1" dirty="0"/>
              <a:t>:  a work in progress</a:t>
            </a:r>
          </a:p>
          <a:p>
            <a:pPr lvl="1"/>
            <a:r>
              <a:rPr lang="en-US" sz="2400" dirty="0"/>
              <a:t>Named professionals </a:t>
            </a:r>
          </a:p>
          <a:p>
            <a:pPr lvl="1"/>
            <a:r>
              <a:rPr lang="en-US" sz="2400" dirty="0"/>
              <a:t>Set of methods and techniques</a:t>
            </a:r>
          </a:p>
          <a:p>
            <a:pPr lvl="1"/>
            <a:r>
              <a:rPr lang="en-US" sz="2400" dirty="0"/>
              <a:t>Standards, best practices</a:t>
            </a:r>
          </a:p>
          <a:p>
            <a:pPr lvl="1"/>
            <a:r>
              <a:rPr lang="en-US" sz="2400" dirty="0"/>
              <a:t>Training programs</a:t>
            </a:r>
          </a:p>
          <a:p>
            <a:pPr lvl="1"/>
            <a:r>
              <a:rPr lang="en-US" sz="2400" dirty="0"/>
              <a:t>Certifications </a:t>
            </a:r>
          </a:p>
          <a:p>
            <a:pPr lvl="1"/>
            <a:r>
              <a:rPr lang="en-US" sz="2400" dirty="0"/>
              <a:t>Academic degree programs</a:t>
            </a:r>
          </a:p>
          <a:p>
            <a:pPr lvl="1"/>
            <a:r>
              <a:rPr lang="en-US" sz="2400" dirty="0"/>
              <a:t>Focused research journals</a:t>
            </a:r>
          </a:p>
          <a:p>
            <a:pPr lvl="1"/>
            <a:r>
              <a:rPr lang="en-US" sz="2400" dirty="0"/>
              <a:t>Formal sub-specialization</a:t>
            </a:r>
          </a:p>
          <a:p>
            <a:pPr lvl="1"/>
            <a:endParaRPr lang="en-US" sz="2400" dirty="0"/>
          </a:p>
        </p:txBody>
      </p:sp>
      <p:sp>
        <p:nvSpPr>
          <p:cNvPr id="5" name="Arrow: Down 4">
            <a:extLst>
              <a:ext uri="{FF2B5EF4-FFF2-40B4-BE49-F238E27FC236}">
                <a16:creationId xmlns:a16="http://schemas.microsoft.com/office/drawing/2014/main" xmlns="" id="{BDADBC8A-1861-48DF-988F-A7FFB48428AF}"/>
              </a:ext>
            </a:extLst>
          </p:cNvPr>
          <p:cNvSpPr/>
          <p:nvPr/>
        </p:nvSpPr>
        <p:spPr>
          <a:xfrm>
            <a:off x="523174" y="2070498"/>
            <a:ext cx="230886" cy="2406908"/>
          </a:xfrm>
          <a:prstGeom prst="downArrow">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2052" name="Picture 4" descr="http://www.mortgagesforchampions.com/wp-content/uploads/medical-program.jpg">
            <a:extLst>
              <a:ext uri="{FF2B5EF4-FFF2-40B4-BE49-F238E27FC236}">
                <a16:creationId xmlns:a16="http://schemas.microsoft.com/office/drawing/2014/main" xmlns="" id="{5C88F51B-47A7-43B2-9344-5840222963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8625" y="2157237"/>
            <a:ext cx="4263743" cy="1832077"/>
          </a:xfrm>
          <a:prstGeom prst="rect">
            <a:avLst/>
          </a:prstGeom>
          <a:noFill/>
          <a:ln>
            <a:solidFill>
              <a:schemeClr val="tx1"/>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7F8C1439-2BA5-4A6C-8E46-6926778707D7}"/>
              </a:ext>
            </a:extLst>
          </p:cNvPr>
          <p:cNvSpPr txBox="1"/>
          <p:nvPr/>
        </p:nvSpPr>
        <p:spPr>
          <a:xfrm>
            <a:off x="6265128" y="4018786"/>
            <a:ext cx="1218732" cy="369332"/>
          </a:xfrm>
          <a:prstGeom prst="rect">
            <a:avLst/>
          </a:prstGeom>
          <a:noFill/>
        </p:spPr>
        <p:txBody>
          <a:bodyPr wrap="none" rtlCol="0">
            <a:spAutoFit/>
          </a:bodyPr>
          <a:lstStyle/>
          <a:p>
            <a:r>
              <a:rPr lang="en-US" b="1" dirty="0">
                <a:solidFill>
                  <a:schemeClr val="accent1"/>
                </a:solidFill>
              </a:rPr>
              <a:t>Researcher</a:t>
            </a:r>
            <a:endParaRPr lang="nl-NL" b="1" dirty="0">
              <a:solidFill>
                <a:schemeClr val="accent1"/>
              </a:solidFill>
            </a:endParaRPr>
          </a:p>
        </p:txBody>
      </p:sp>
      <p:sp>
        <p:nvSpPr>
          <p:cNvPr id="10" name="TextBox 9">
            <a:extLst>
              <a:ext uri="{FF2B5EF4-FFF2-40B4-BE49-F238E27FC236}">
                <a16:creationId xmlns:a16="http://schemas.microsoft.com/office/drawing/2014/main" xmlns="" id="{FF999356-B98A-4495-9659-AA2CD536B0CF}"/>
              </a:ext>
            </a:extLst>
          </p:cNvPr>
          <p:cNvSpPr txBox="1"/>
          <p:nvPr/>
        </p:nvSpPr>
        <p:spPr>
          <a:xfrm>
            <a:off x="7563865" y="4010592"/>
            <a:ext cx="1359988" cy="369332"/>
          </a:xfrm>
          <a:prstGeom prst="rect">
            <a:avLst/>
          </a:prstGeom>
          <a:noFill/>
        </p:spPr>
        <p:txBody>
          <a:bodyPr wrap="none" rtlCol="0">
            <a:spAutoFit/>
          </a:bodyPr>
          <a:lstStyle/>
          <a:p>
            <a:r>
              <a:rPr lang="en-US" b="1" dirty="0">
                <a:solidFill>
                  <a:schemeClr val="accent1"/>
                </a:solidFill>
              </a:rPr>
              <a:t>Primary Care</a:t>
            </a:r>
            <a:endParaRPr lang="nl-NL" b="1" dirty="0">
              <a:solidFill>
                <a:schemeClr val="accent1"/>
              </a:solidFill>
            </a:endParaRPr>
          </a:p>
        </p:txBody>
      </p:sp>
      <p:sp>
        <p:nvSpPr>
          <p:cNvPr id="11" name="TextBox 10">
            <a:extLst>
              <a:ext uri="{FF2B5EF4-FFF2-40B4-BE49-F238E27FC236}">
                <a16:creationId xmlns:a16="http://schemas.microsoft.com/office/drawing/2014/main" xmlns="" id="{1C49F907-3213-40A8-8F53-37DCCC4426E4}"/>
              </a:ext>
            </a:extLst>
          </p:cNvPr>
          <p:cNvSpPr txBox="1"/>
          <p:nvPr/>
        </p:nvSpPr>
        <p:spPr>
          <a:xfrm>
            <a:off x="5552042" y="4292740"/>
            <a:ext cx="1400127" cy="369332"/>
          </a:xfrm>
          <a:prstGeom prst="rect">
            <a:avLst/>
          </a:prstGeom>
          <a:noFill/>
        </p:spPr>
        <p:txBody>
          <a:bodyPr wrap="none" rtlCol="0">
            <a:spAutoFit/>
          </a:bodyPr>
          <a:lstStyle/>
          <a:p>
            <a:r>
              <a:rPr lang="en-US" b="1" dirty="0">
                <a:solidFill>
                  <a:schemeClr val="accent1"/>
                </a:solidFill>
              </a:rPr>
              <a:t>Diagnostician</a:t>
            </a:r>
            <a:endParaRPr lang="nl-NL" b="1" dirty="0">
              <a:solidFill>
                <a:schemeClr val="accent1"/>
              </a:solidFill>
            </a:endParaRPr>
          </a:p>
        </p:txBody>
      </p:sp>
      <p:sp>
        <p:nvSpPr>
          <p:cNvPr id="12" name="TextBox 11">
            <a:extLst>
              <a:ext uri="{FF2B5EF4-FFF2-40B4-BE49-F238E27FC236}">
                <a16:creationId xmlns:a16="http://schemas.microsoft.com/office/drawing/2014/main" xmlns="" id="{787B52DD-16F6-46F2-B084-D23C3C2BAF0D}"/>
              </a:ext>
            </a:extLst>
          </p:cNvPr>
          <p:cNvSpPr txBox="1"/>
          <p:nvPr/>
        </p:nvSpPr>
        <p:spPr>
          <a:xfrm>
            <a:off x="4991342" y="4018771"/>
            <a:ext cx="1028230" cy="369332"/>
          </a:xfrm>
          <a:prstGeom prst="rect">
            <a:avLst/>
          </a:prstGeom>
          <a:noFill/>
        </p:spPr>
        <p:txBody>
          <a:bodyPr wrap="none" rtlCol="0">
            <a:spAutoFit/>
          </a:bodyPr>
          <a:lstStyle/>
          <a:p>
            <a:r>
              <a:rPr lang="en-US" b="1" dirty="0">
                <a:solidFill>
                  <a:schemeClr val="accent1"/>
                </a:solidFill>
              </a:rPr>
              <a:t>Specialist</a:t>
            </a:r>
            <a:endParaRPr lang="nl-NL" b="1" dirty="0">
              <a:solidFill>
                <a:schemeClr val="accent1"/>
              </a:solidFill>
            </a:endParaRPr>
          </a:p>
        </p:txBody>
      </p:sp>
      <p:sp>
        <p:nvSpPr>
          <p:cNvPr id="13" name="TextBox 12">
            <a:extLst>
              <a:ext uri="{FF2B5EF4-FFF2-40B4-BE49-F238E27FC236}">
                <a16:creationId xmlns:a16="http://schemas.microsoft.com/office/drawing/2014/main" xmlns="" id="{FD41AAEC-0D93-4E12-98D0-D7A4C3239EB7}"/>
              </a:ext>
            </a:extLst>
          </p:cNvPr>
          <p:cNvSpPr txBox="1"/>
          <p:nvPr/>
        </p:nvSpPr>
        <p:spPr>
          <a:xfrm>
            <a:off x="4403362" y="4292740"/>
            <a:ext cx="931409" cy="369332"/>
          </a:xfrm>
          <a:prstGeom prst="rect">
            <a:avLst/>
          </a:prstGeom>
          <a:noFill/>
        </p:spPr>
        <p:txBody>
          <a:bodyPr wrap="none" rtlCol="0">
            <a:spAutoFit/>
          </a:bodyPr>
          <a:lstStyle/>
          <a:p>
            <a:r>
              <a:rPr lang="en-US" b="1" dirty="0">
                <a:solidFill>
                  <a:schemeClr val="accent1"/>
                </a:solidFill>
              </a:rPr>
              <a:t>Surgeon</a:t>
            </a:r>
            <a:endParaRPr lang="nl-NL" b="1" dirty="0">
              <a:solidFill>
                <a:schemeClr val="accent1"/>
              </a:solidFill>
            </a:endParaRPr>
          </a:p>
        </p:txBody>
      </p:sp>
      <p:sp>
        <p:nvSpPr>
          <p:cNvPr id="14" name="TextBox 13">
            <a:extLst>
              <a:ext uri="{FF2B5EF4-FFF2-40B4-BE49-F238E27FC236}">
                <a16:creationId xmlns:a16="http://schemas.microsoft.com/office/drawing/2014/main" xmlns="" id="{3A505FEE-0781-4BC7-B5A8-146B85CF0832}"/>
              </a:ext>
            </a:extLst>
          </p:cNvPr>
          <p:cNvSpPr txBox="1"/>
          <p:nvPr/>
        </p:nvSpPr>
        <p:spPr>
          <a:xfrm>
            <a:off x="7032174" y="4316448"/>
            <a:ext cx="1652140" cy="369332"/>
          </a:xfrm>
          <a:prstGeom prst="rect">
            <a:avLst/>
          </a:prstGeom>
          <a:noFill/>
        </p:spPr>
        <p:txBody>
          <a:bodyPr wrap="square" rtlCol="0">
            <a:spAutoFit/>
          </a:bodyPr>
          <a:lstStyle/>
          <a:p>
            <a:r>
              <a:rPr lang="en-US" b="1" dirty="0">
                <a:solidFill>
                  <a:schemeClr val="accent1"/>
                </a:solidFill>
              </a:rPr>
              <a:t>Emergency Care</a:t>
            </a:r>
            <a:endParaRPr lang="nl-NL" b="1" dirty="0">
              <a:solidFill>
                <a:schemeClr val="accent1"/>
              </a:solidFill>
            </a:endParaRPr>
          </a:p>
        </p:txBody>
      </p:sp>
      <p:cxnSp>
        <p:nvCxnSpPr>
          <p:cNvPr id="9" name="Straight Connector 8">
            <a:extLst>
              <a:ext uri="{FF2B5EF4-FFF2-40B4-BE49-F238E27FC236}">
                <a16:creationId xmlns:a16="http://schemas.microsoft.com/office/drawing/2014/main" xmlns="" id="{DBD2225B-A608-4D66-90FE-49D3712D0A01}"/>
              </a:ext>
            </a:extLst>
          </p:cNvPr>
          <p:cNvCxnSpPr>
            <a:cxnSpLocks/>
          </p:cNvCxnSpPr>
          <p:nvPr/>
        </p:nvCxnSpPr>
        <p:spPr>
          <a:xfrm>
            <a:off x="754060" y="1971368"/>
            <a:ext cx="3817940" cy="0"/>
          </a:xfrm>
          <a:prstGeom prst="line">
            <a:avLst/>
          </a:prstGeom>
          <a:ln w="25400">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789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Effect transition="in" filter="fade">
                                      <p:cBhvr>
                                        <p:cTn id="13" dur="500"/>
                                        <p:tgtEl>
                                          <p:spTgt spid="4">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4" end="4"/>
                                            </p:txEl>
                                          </p:spTgt>
                                        </p:tgtEl>
                                        <p:attrNameLst>
                                          <p:attrName>style.visibility</p:attrName>
                                        </p:attrNameLst>
                                      </p:cBhvr>
                                      <p:to>
                                        <p:strVal val="visible"/>
                                      </p:to>
                                    </p:set>
                                    <p:animEffect transition="in" filter="fade">
                                      <p:cBhvr>
                                        <p:cTn id="16" dur="500"/>
                                        <p:tgtEl>
                                          <p:spTgt spid="4">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animEffect transition="in" filter="fade">
                                      <p:cBhvr>
                                        <p:cTn id="19" dur="500"/>
                                        <p:tgtEl>
                                          <p:spTgt spid="4">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animEffect transition="in" filter="fade">
                                      <p:cBhvr>
                                        <p:cTn id="25" dur="500"/>
                                        <p:tgtEl>
                                          <p:spTgt spid="4">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
                                            <p:txEl>
                                              <p:pRg st="8" end="8"/>
                                            </p:txEl>
                                          </p:spTgt>
                                        </p:tgtEl>
                                        <p:attrNameLst>
                                          <p:attrName>style.visibility</p:attrName>
                                        </p:attrNameLst>
                                      </p:cBhvr>
                                      <p:to>
                                        <p:strVal val="visible"/>
                                      </p:to>
                                    </p:set>
                                    <p:animEffect transition="in" filter="fade">
                                      <p:cBhvr>
                                        <p:cTn id="28" dur="500"/>
                                        <p:tgtEl>
                                          <p:spTgt spid="4">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animEffect transition="in" filter="fade">
                                      <p:cBhvr>
                                        <p:cTn id="31" dur="500"/>
                                        <p:tgtEl>
                                          <p:spTgt spid="4">
                                            <p:txEl>
                                              <p:pRg st="9" end="9"/>
                                            </p:txEl>
                                          </p:spTgt>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up)">
                                      <p:cBhvr>
                                        <p:cTn id="35" dur="500"/>
                                        <p:tgtEl>
                                          <p:spTgt spid="5"/>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2052"/>
                                        </p:tgtEl>
                                        <p:attrNameLst>
                                          <p:attrName>style.visibility</p:attrName>
                                        </p:attrNameLst>
                                      </p:cBhvr>
                                      <p:to>
                                        <p:strVal val="visible"/>
                                      </p:to>
                                    </p:set>
                                    <p:animEffect transition="in" filter="fade">
                                      <p:cBhvr>
                                        <p:cTn id="39" dur="500"/>
                                        <p:tgtEl>
                                          <p:spTgt spid="2052"/>
                                        </p:tgtEl>
                                      </p:cBhvr>
                                    </p:animEffect>
                                  </p:childTnLst>
                                </p:cTn>
                              </p:par>
                            </p:childTnLst>
                          </p:cTn>
                        </p:par>
                        <p:par>
                          <p:cTn id="40" fill="hold">
                            <p:stCondLst>
                              <p:cond delay="1500"/>
                            </p:stCondLst>
                            <p:childTnLst>
                              <p:par>
                                <p:cTn id="41" presetID="6" presetClass="entr" presetSubtype="32"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circle(out)">
                                      <p:cBhvr>
                                        <p:cTn id="43" dur="1000"/>
                                        <p:tgtEl>
                                          <p:spTgt spid="13"/>
                                        </p:tgtEl>
                                      </p:cBhvr>
                                    </p:animEffect>
                                  </p:childTnLst>
                                </p:cTn>
                              </p:par>
                              <p:par>
                                <p:cTn id="44" presetID="6" presetClass="entr" presetSubtype="32"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circle(out)">
                                      <p:cBhvr>
                                        <p:cTn id="46" dur="1000"/>
                                        <p:tgtEl>
                                          <p:spTgt spid="12"/>
                                        </p:tgtEl>
                                      </p:cBhvr>
                                    </p:animEffect>
                                  </p:childTnLst>
                                </p:cTn>
                              </p:par>
                              <p:par>
                                <p:cTn id="47" presetID="6" presetClass="entr" presetSubtype="32"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circle(out)">
                                      <p:cBhvr>
                                        <p:cTn id="49" dur="1000"/>
                                        <p:tgtEl>
                                          <p:spTgt spid="11"/>
                                        </p:tgtEl>
                                      </p:cBhvr>
                                    </p:animEffect>
                                  </p:childTnLst>
                                </p:cTn>
                              </p:par>
                              <p:par>
                                <p:cTn id="50" presetID="6" presetClass="entr" presetSubtype="32"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circle(out)">
                                      <p:cBhvr>
                                        <p:cTn id="52" dur="1000"/>
                                        <p:tgtEl>
                                          <p:spTgt spid="7"/>
                                        </p:tgtEl>
                                      </p:cBhvr>
                                    </p:animEffect>
                                  </p:childTnLst>
                                </p:cTn>
                              </p:par>
                              <p:par>
                                <p:cTn id="53" presetID="6" presetClass="entr" presetSubtype="32" fill="hold" grpId="0" nodeType="with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circle(out)">
                                      <p:cBhvr>
                                        <p:cTn id="55" dur="1000"/>
                                        <p:tgtEl>
                                          <p:spTgt spid="14"/>
                                        </p:tgtEl>
                                      </p:cBhvr>
                                    </p:animEffect>
                                  </p:childTnLst>
                                </p:cTn>
                              </p:par>
                              <p:par>
                                <p:cTn id="56" presetID="6" presetClass="entr" presetSubtype="32"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circle(out)">
                                      <p:cBhvr>
                                        <p:cTn id="58"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10" grpId="0"/>
      <p:bldP spid="11" grpId="0"/>
      <p:bldP spid="12" grpId="0"/>
      <p:bldP spid="13" grpId="0"/>
      <p:bldP spid="1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8A0135-95ED-48D0-AC84-89E0535CBBE7}"/>
              </a:ext>
            </a:extLst>
          </p:cNvPr>
          <p:cNvSpPr>
            <a:spLocks noGrp="1"/>
          </p:cNvSpPr>
          <p:nvPr>
            <p:ph type="title"/>
          </p:nvPr>
        </p:nvSpPr>
        <p:spPr>
          <a:xfrm>
            <a:off x="2968578" y="709449"/>
            <a:ext cx="5970705" cy="3899810"/>
          </a:xfrm>
        </p:spPr>
        <p:txBody>
          <a:bodyPr/>
          <a:lstStyle/>
          <a:p>
            <a:r>
              <a:rPr lang="en-US" sz="4400" b="1" u="sng" dirty="0">
                <a:latin typeface="Arial" panose="020B0604020202020204" pitchFamily="34" charset="0"/>
                <a:cs typeface="Arial" panose="020B0604020202020204" pitchFamily="34" charset="0"/>
              </a:rPr>
              <a:t>Thank You</a:t>
            </a:r>
            <a:r>
              <a:rPr lang="en-US" sz="4400" b="1" dirty="0">
                <a:latin typeface="Arial" panose="020B0604020202020204" pitchFamily="34" charset="0"/>
                <a:cs typeface="Arial" panose="020B0604020202020204" pitchFamily="34" charset="0"/>
              </a:rPr>
              <a:t>!</a:t>
            </a:r>
            <a:br>
              <a:rPr lang="en-US" sz="4400" b="1" dirty="0">
                <a:latin typeface="Arial" panose="020B0604020202020204" pitchFamily="34" charset="0"/>
                <a:cs typeface="Arial" panose="020B0604020202020204" pitchFamily="34" charset="0"/>
              </a:rPr>
            </a:br>
            <a:r>
              <a:rPr lang="en-US" sz="1100" b="1" dirty="0">
                <a:latin typeface="Arial" panose="020B0604020202020204" pitchFamily="34" charset="0"/>
                <a:cs typeface="Arial" panose="020B0604020202020204" pitchFamily="34" charset="0"/>
              </a:rPr>
              <a:t/>
            </a:r>
            <a:br>
              <a:rPr lang="en-US" sz="11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
            </a:r>
            <a:br>
              <a:rPr lang="en-US" sz="1400" b="1" dirty="0">
                <a:latin typeface="Arial" panose="020B0604020202020204" pitchFamily="34" charset="0"/>
                <a:cs typeface="Arial" panose="020B0604020202020204" pitchFamily="34" charset="0"/>
              </a:rPr>
            </a:br>
            <a:r>
              <a:rPr lang="en-US" sz="3600" b="1" dirty="0">
                <a:latin typeface="Arial" panose="020B0604020202020204" pitchFamily="34" charset="0"/>
                <a:cs typeface="Arial" panose="020B0604020202020204" pitchFamily="34" charset="0"/>
              </a:rPr>
              <a:t>Interested to participate?</a:t>
            </a:r>
            <a:r>
              <a:rPr lang="en-US" b="1" dirty="0">
                <a:latin typeface="Arial" panose="020B0604020202020204" pitchFamily="34" charset="0"/>
                <a:cs typeface="Arial" panose="020B0604020202020204" pitchFamily="34" charset="0"/>
              </a:rPr>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
            </a:r>
            <a:br>
              <a:rPr lang="en-US" b="1" dirty="0">
                <a:latin typeface="Arial" panose="020B0604020202020204" pitchFamily="34" charset="0"/>
                <a:cs typeface="Arial" panose="020B0604020202020204" pitchFamily="34" charset="0"/>
              </a:rPr>
            </a:br>
            <a:r>
              <a:rPr lang="nl-NL" sz="4000" dirty="0">
                <a:solidFill>
                  <a:schemeClr val="tx2">
                    <a:lumMod val="25000"/>
                    <a:lumOff val="75000"/>
                  </a:schemeClr>
                </a:solidFill>
                <a:hlinkClick r:id="rId2"/>
              </a:rPr>
              <a:t>scott.mongeau@sas.com</a:t>
            </a:r>
            <a:r>
              <a:rPr lang="nl-NL" sz="4000" dirty="0">
                <a:solidFill>
                  <a:schemeClr val="tx2">
                    <a:lumMod val="25000"/>
                    <a:lumOff val="75000"/>
                  </a:schemeClr>
                </a:solidFill>
              </a:rPr>
              <a:t>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xmlns="" id="{11639F7B-94F5-4BC5-939C-5B1323BC0D79}"/>
              </a:ext>
            </a:extLst>
          </p:cNvPr>
          <p:cNvSpPr txBox="1">
            <a:spLocks/>
          </p:cNvSpPr>
          <p:nvPr/>
        </p:nvSpPr>
        <p:spPr>
          <a:xfrm>
            <a:off x="626364" y="2929340"/>
            <a:ext cx="2000566" cy="1616384"/>
          </a:xfrm>
          <a:prstGeom prst="rect">
            <a:avLst/>
          </a:prstGeom>
        </p:spPr>
        <p:txBody>
          <a:bodyPr vert="horz" wrap="square" lIns="91440" tIns="45720" rIns="91440" bIns="45720" rtlCol="0" anchor="ctr" anchorCtr="0">
            <a:noAutofit/>
          </a:bodyPr>
          <a:lstStyle>
            <a:lvl1pPr algn="ctr" defTabSz="182880" rtl="0" eaLnBrk="1" latinLnBrk="0" hangingPunct="1">
              <a:spcBef>
                <a:spcPct val="0"/>
              </a:spcBef>
              <a:buNone/>
              <a:defRPr lang="en-US" sz="2800" kern="1200" cap="none" baseline="0">
                <a:solidFill>
                  <a:schemeClr val="tx2"/>
                </a:solidFill>
                <a:latin typeface="+mj-lt"/>
                <a:ea typeface="+mj-ea"/>
                <a:cs typeface="+mj-cs"/>
              </a:defRPr>
            </a:lvl1pPr>
          </a:lstStyle>
          <a:p>
            <a:r>
              <a:rPr lang="en-US" sz="1800" dirty="0"/>
              <a:t>Scott Mongeau</a:t>
            </a:r>
          </a:p>
          <a:p>
            <a:r>
              <a:rPr lang="en-US" sz="1400" b="1" dirty="0">
                <a:solidFill>
                  <a:schemeClr val="tx1"/>
                </a:solidFill>
              </a:rPr>
              <a:t>Cybersecurity</a:t>
            </a:r>
          </a:p>
          <a:p>
            <a:r>
              <a:rPr lang="en-US" sz="1400" b="1" dirty="0">
                <a:solidFill>
                  <a:schemeClr val="tx1"/>
                </a:solidFill>
              </a:rPr>
              <a:t>Data Scientist</a:t>
            </a:r>
          </a:p>
          <a:p>
            <a:endParaRPr lang="en-US" sz="1400" b="1" dirty="0">
              <a:solidFill>
                <a:schemeClr val="tx1"/>
              </a:solidFill>
            </a:endParaRPr>
          </a:p>
          <a:p>
            <a:r>
              <a:rPr lang="en-US" sz="1400" dirty="0">
                <a:cs typeface="Arial"/>
              </a:rPr>
              <a:t>+31 68 370 3097</a:t>
            </a:r>
          </a:p>
          <a:p>
            <a:r>
              <a:rPr lang="en-US" sz="1400" dirty="0">
                <a:cs typeface="Arial"/>
              </a:rPr>
              <a:t>(Netherlands GMT+1)</a:t>
            </a:r>
          </a:p>
          <a:p>
            <a:endParaRPr lang="en-US" sz="1400" b="1" dirty="0">
              <a:cs typeface="Arial"/>
            </a:endParaRPr>
          </a:p>
          <a:p>
            <a:endParaRPr lang="en-US" sz="900" b="1" dirty="0"/>
          </a:p>
        </p:txBody>
      </p:sp>
      <p:pic>
        <p:nvPicPr>
          <p:cNvPr id="6" name="Picture 5">
            <a:extLst>
              <a:ext uri="{FF2B5EF4-FFF2-40B4-BE49-F238E27FC236}">
                <a16:creationId xmlns:a16="http://schemas.microsoft.com/office/drawing/2014/main" xmlns="" id="{A25DA84B-EBCB-4ADD-B772-80A1A48A33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622" y="1252287"/>
            <a:ext cx="1204050" cy="1488700"/>
          </a:xfrm>
          <a:prstGeom prst="rect">
            <a:avLst/>
          </a:prstGeom>
          <a:ln w="12700">
            <a:solidFill>
              <a:srgbClr val="003300"/>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66862497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DDA80F-32BA-4881-8E9F-5A3C13388C71}"/>
              </a:ext>
            </a:extLst>
          </p:cNvPr>
          <p:cNvSpPr>
            <a:spLocks noGrp="1"/>
          </p:cNvSpPr>
          <p:nvPr>
            <p:ph type="title"/>
          </p:nvPr>
        </p:nvSpPr>
        <p:spPr>
          <a:xfrm>
            <a:off x="47846" y="1697659"/>
            <a:ext cx="9144000" cy="1107996"/>
          </a:xfrm>
        </p:spPr>
        <p:txBody>
          <a:bodyPr/>
          <a:lstStyle/>
          <a:p>
            <a:r>
              <a:rPr lang="en-US" sz="6600" b="1" dirty="0"/>
              <a:t>REFERENCES</a:t>
            </a:r>
            <a:endParaRPr lang="en-US" b="1" dirty="0"/>
          </a:p>
        </p:txBody>
      </p:sp>
    </p:spTree>
    <p:extLst>
      <p:ext uri="{BB962C8B-B14F-4D97-AF65-F5344CB8AC3E}">
        <p14:creationId xmlns:p14="http://schemas.microsoft.com/office/powerpoint/2010/main" val="58445852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8700" y="210206"/>
            <a:ext cx="2738920" cy="342900"/>
          </a:xfrm>
        </p:spPr>
        <p:txBody>
          <a:bodyPr/>
          <a:lstStyle/>
          <a:p>
            <a:r>
              <a:rPr lang="en-US" b="1" dirty="0">
                <a:latin typeface="Arial" panose="020B0604020202020204" pitchFamily="34" charset="0"/>
                <a:cs typeface="Arial" panose="020B0604020202020204" pitchFamily="34" charset="0"/>
              </a:rPr>
              <a:t>REFERENCES</a:t>
            </a:r>
          </a:p>
        </p:txBody>
      </p:sp>
      <p:sp>
        <p:nvSpPr>
          <p:cNvPr id="3" name="Content Placeholder 2"/>
          <p:cNvSpPr>
            <a:spLocks noGrp="1"/>
          </p:cNvSpPr>
          <p:nvPr>
            <p:ph idx="1"/>
          </p:nvPr>
        </p:nvSpPr>
        <p:spPr>
          <a:xfrm>
            <a:off x="193729" y="681231"/>
            <a:ext cx="8702298" cy="4215088"/>
          </a:xfrm>
        </p:spPr>
        <p:txBody>
          <a:bodyPr>
            <a:normAutofit lnSpcReduction="10000"/>
          </a:bodyPr>
          <a:lstStyle/>
          <a:p>
            <a:pPr>
              <a:spcBef>
                <a:spcPts val="975"/>
              </a:spcBef>
            </a:pPr>
            <a:r>
              <a:rPr lang="en-US" sz="1200" dirty="0"/>
              <a:t>Aggarwal, C. (2013). “Outlier Analysis.” Springer. </a:t>
            </a:r>
            <a:r>
              <a:rPr lang="en-US" sz="1100" dirty="0">
                <a:hlinkClick r:id="rId2"/>
              </a:rPr>
              <a:t>http://www.springer.com/la/book/9781461463955</a:t>
            </a:r>
            <a:r>
              <a:rPr lang="en-US" sz="1100" dirty="0"/>
              <a:t> </a:t>
            </a:r>
          </a:p>
          <a:p>
            <a:pPr>
              <a:spcBef>
                <a:spcPts val="975"/>
              </a:spcBef>
            </a:pPr>
            <a:r>
              <a:rPr lang="en-US" sz="1200" dirty="0"/>
              <a:t>Harris, H., Murphy, S., and </a:t>
            </a:r>
            <a:r>
              <a:rPr lang="en-US" sz="1200" dirty="0" err="1"/>
              <a:t>Vaisman</a:t>
            </a:r>
            <a:r>
              <a:rPr lang="en-US" sz="1200" dirty="0"/>
              <a:t>, M. (2013). “Analyzing the Analyzers.” O’Reilly Media. Available at </a:t>
            </a:r>
            <a:r>
              <a:rPr lang="en-US" sz="1200" dirty="0">
                <a:hlinkClick r:id="rId3"/>
              </a:rPr>
              <a:t>https://www.oreilly.com/data/free/analyzing-the-analyzers.csp</a:t>
            </a:r>
            <a:r>
              <a:rPr lang="en-US" sz="1200" dirty="0"/>
              <a:t> </a:t>
            </a:r>
          </a:p>
          <a:p>
            <a:pPr>
              <a:spcBef>
                <a:spcPts val="975"/>
              </a:spcBef>
            </a:pPr>
            <a:r>
              <a:rPr lang="en-US" sz="1200" dirty="0"/>
              <a:t>Kirchhoff, C., Upton, D., and Winnefeld, Jr., Admiral J. A. (2015 October 7). “Defending Your Networks: Lessons from the Pentagon.” Harvard Business Review. Available at </a:t>
            </a:r>
            <a:r>
              <a:rPr lang="en-US" sz="1200" dirty="0">
                <a:hlinkClick r:id="rId4"/>
              </a:rPr>
              <a:t>https://hbr.org/webinar/2015/10/defending-your-networks-lessons-from-the-pentagon</a:t>
            </a:r>
            <a:r>
              <a:rPr lang="en-US" sz="1200" dirty="0"/>
              <a:t>  </a:t>
            </a:r>
          </a:p>
          <a:p>
            <a:pPr>
              <a:spcBef>
                <a:spcPts val="975"/>
              </a:spcBef>
            </a:pPr>
            <a:r>
              <a:rPr lang="en-US" sz="1200" dirty="0"/>
              <a:t>Mongeau, S. (2018). “Cybersecurity Data Science (CSDS).” SCTR7.com. </a:t>
            </a:r>
            <a:r>
              <a:rPr lang="en-US" sz="1200" dirty="0">
                <a:hlinkClick r:id="rId5"/>
              </a:rPr>
              <a:t>https://sctr7.com/2018/12/03/cybersecurity-data-science-csds-how-not-to-drown-in-your-cyber-data-lake/</a:t>
            </a:r>
            <a:r>
              <a:rPr lang="en-US" sz="1200" dirty="0"/>
              <a:t> </a:t>
            </a:r>
          </a:p>
          <a:p>
            <a:pPr>
              <a:spcBef>
                <a:spcPts val="975"/>
              </a:spcBef>
            </a:pPr>
            <a:r>
              <a:rPr lang="en-US" sz="1200" dirty="0"/>
              <a:t>Mongeau, S. (2017). “Cybersecurity Big Data Overload?” SCTR7.com. </a:t>
            </a:r>
            <a:r>
              <a:rPr lang="en-US" sz="1200" dirty="0">
                <a:hlinkClick r:id="rId6"/>
              </a:rPr>
              <a:t>https://sctr7.com/2017/10/22/cybersecurity-big-data-overload/</a:t>
            </a:r>
            <a:r>
              <a:rPr lang="en-US" sz="1200" dirty="0"/>
              <a:t> </a:t>
            </a:r>
          </a:p>
          <a:p>
            <a:pPr>
              <a:spcBef>
                <a:spcPts val="975"/>
              </a:spcBef>
            </a:pPr>
            <a:r>
              <a:rPr lang="en-US" sz="1200" dirty="0" err="1"/>
              <a:t>Ponemon</a:t>
            </a:r>
            <a:r>
              <a:rPr lang="en-US" sz="1200" dirty="0"/>
              <a:t> Institute. (2017). “When Seconds Count: How Security Analytics Improves Cybersecurity Defenses.” Available at </a:t>
            </a:r>
            <a:r>
              <a:rPr lang="en-US" sz="1200" dirty="0">
                <a:hlinkClick r:id="rId7"/>
              </a:rPr>
              <a:t>https://www.sas.com/en_us/whitepapers/ponemon-how-security-analytics-improves-cybersecurity-defenses-108679.html</a:t>
            </a:r>
            <a:r>
              <a:rPr lang="en-US" sz="1200" dirty="0"/>
              <a:t> </a:t>
            </a:r>
          </a:p>
          <a:p>
            <a:pPr>
              <a:spcBef>
                <a:spcPts val="975"/>
              </a:spcBef>
            </a:pPr>
            <a:r>
              <a:rPr lang="en-US" sz="1200" dirty="0"/>
              <a:t>SANS Institute. (2015). “2015 Analytics and Intelligence Survey.” Available at </a:t>
            </a:r>
            <a:r>
              <a:rPr lang="en-US" sz="1200" dirty="0">
                <a:hlinkClick r:id="rId8"/>
              </a:rPr>
              <a:t>https://www.sas.com/en_us/whitepapers/sans-analytics-intelligence-survey-108031.html</a:t>
            </a:r>
            <a:r>
              <a:rPr lang="en-US" sz="1200" dirty="0"/>
              <a:t> </a:t>
            </a:r>
          </a:p>
          <a:p>
            <a:pPr>
              <a:spcBef>
                <a:spcPts val="975"/>
              </a:spcBef>
            </a:pPr>
            <a:r>
              <a:rPr lang="en-US" sz="1200" dirty="0"/>
              <a:t>SANS Institute. (2016). “Using Analytics to Predict Future Attacks and Breaches.” Available at </a:t>
            </a:r>
            <a:r>
              <a:rPr lang="en-US" sz="1100" dirty="0">
                <a:hlinkClick r:id="rId9"/>
              </a:rPr>
              <a:t>https://www.sas.com/en_us/whitepapers/sans-using-analytics-to-predict-future-attacks-breaches-108130.html</a:t>
            </a:r>
            <a:endParaRPr lang="en-US" sz="1100" dirty="0"/>
          </a:p>
          <a:p>
            <a:pPr>
              <a:spcBef>
                <a:spcPts val="975"/>
              </a:spcBef>
            </a:pPr>
            <a:r>
              <a:rPr lang="en-US" sz="1200" dirty="0"/>
              <a:t>SAS Institute. (2016). “Managing the Analytical Life Cycle for Decisions at Scale.” Available at </a:t>
            </a:r>
            <a:r>
              <a:rPr lang="en-US" sz="1100" dirty="0">
                <a:hlinkClick r:id="rId10"/>
              </a:rPr>
              <a:t>https://www.sas.com/content/dam/SAS/en_us/doc/whitepaper1/manage-analytical-life-cycle-continuous-innovation-106179.pdf</a:t>
            </a:r>
            <a:r>
              <a:rPr lang="en-US" sz="1100" dirty="0"/>
              <a:t> </a:t>
            </a:r>
            <a:endParaRPr lang="en-US" sz="900" dirty="0"/>
          </a:p>
          <a:p>
            <a:pPr>
              <a:spcBef>
                <a:spcPts val="975"/>
              </a:spcBef>
            </a:pPr>
            <a:r>
              <a:rPr lang="en-US" sz="1200" dirty="0"/>
              <a:t>SAS Institute. (2017). “SAS Cybersecurity: Counter cyberattacks with your information advantage.” Available at </a:t>
            </a:r>
            <a:r>
              <a:rPr lang="en-US" sz="1100" dirty="0">
                <a:hlinkClick r:id="rId11"/>
              </a:rPr>
              <a:t>https://www.sas.com/en_us/software/fraud-security-intelligence/cybersecurity-solutions.html</a:t>
            </a:r>
            <a:r>
              <a:rPr lang="en-US" sz="1100" dirty="0"/>
              <a:t> </a:t>
            </a:r>
          </a:p>
          <a:p>
            <a:pPr>
              <a:spcBef>
                <a:spcPts val="975"/>
              </a:spcBef>
            </a:pPr>
            <a:r>
              <a:rPr lang="en-US" sz="1200" dirty="0"/>
              <a:t>UBM. (2016). “Dark Reading: Close the Detection Deficit with Security Analytics.” Available at </a:t>
            </a:r>
            <a:r>
              <a:rPr lang="en-US" sz="1100" dirty="0">
                <a:hlinkClick r:id="rId12"/>
              </a:rPr>
              <a:t>https://www.sas.com/en_us/whitepapers/close-detection-deficit-with-security-analytics-108280.html</a:t>
            </a:r>
            <a:r>
              <a:rPr lang="en-US" sz="1100" dirty="0"/>
              <a:t> </a:t>
            </a:r>
            <a:endParaRPr lang="en-US" sz="1200" dirty="0"/>
          </a:p>
        </p:txBody>
      </p:sp>
      <p:sp>
        <p:nvSpPr>
          <p:cNvPr id="5" name="Slide Number Placeholder 3">
            <a:extLst>
              <a:ext uri="{FF2B5EF4-FFF2-40B4-BE49-F238E27FC236}">
                <a16:creationId xmlns:a16="http://schemas.microsoft.com/office/drawing/2014/main" xmlns="" id="{E2ECCFCA-7153-4B6A-8809-B91A99780BE6}"/>
              </a:ext>
            </a:extLst>
          </p:cNvPr>
          <p:cNvSpPr txBox="1">
            <a:spLocks/>
          </p:cNvSpPr>
          <p:nvPr/>
        </p:nvSpPr>
        <p:spPr>
          <a:xfrm>
            <a:off x="4114800" y="4776500"/>
            <a:ext cx="914400" cy="230832"/>
          </a:xfrm>
          <a:prstGeom prst="rect">
            <a:avLst/>
          </a:prstGeom>
        </p:spPr>
        <p:txBody>
          <a:bodyPr vert="horz" lIns="91440" tIns="45720" rIns="91440" bIns="45720" rtlCol="0" anchor="b">
            <a:spAutoFit/>
          </a:bodyPr>
          <a:lstStyle>
            <a:defPPr>
              <a:defRPr lang="en-US"/>
            </a:defPPr>
            <a:lvl1pPr marL="0" algn="ctr" defTabSz="182880" rtl="0" eaLnBrk="1" latinLnBrk="0" hangingPunct="1">
              <a:defRPr sz="9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76208B-6111-490B-8CEC-FFB249DB2100}" type="slidenum">
              <a:rPr lang="en-US" smtClean="0"/>
              <a:pPr/>
              <a:t>45</a:t>
            </a:fld>
            <a:endParaRPr lang="en-US" dirty="0"/>
          </a:p>
        </p:txBody>
      </p:sp>
    </p:spTree>
    <p:extLst>
      <p:ext uri="{BB962C8B-B14F-4D97-AF65-F5344CB8AC3E}">
        <p14:creationId xmlns:p14="http://schemas.microsoft.com/office/powerpoint/2010/main" val="20273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DDA80F-32BA-4881-8E9F-5A3C13388C71}"/>
              </a:ext>
            </a:extLst>
          </p:cNvPr>
          <p:cNvSpPr>
            <a:spLocks noGrp="1"/>
          </p:cNvSpPr>
          <p:nvPr>
            <p:ph type="title"/>
          </p:nvPr>
        </p:nvSpPr>
        <p:spPr>
          <a:xfrm>
            <a:off x="0" y="1877837"/>
            <a:ext cx="9144000" cy="1015663"/>
          </a:xfrm>
        </p:spPr>
        <p:txBody>
          <a:bodyPr/>
          <a:lstStyle/>
          <a:p>
            <a:r>
              <a:rPr lang="en-US" sz="6000" b="1" dirty="0"/>
              <a:t>APPENDIX</a:t>
            </a:r>
          </a:p>
        </p:txBody>
      </p:sp>
    </p:spTree>
    <p:extLst>
      <p:ext uri="{BB962C8B-B14F-4D97-AF65-F5344CB8AC3E}">
        <p14:creationId xmlns:p14="http://schemas.microsoft.com/office/powerpoint/2010/main" val="333073714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mage result for click here to kill">
            <a:extLst>
              <a:ext uri="{FF2B5EF4-FFF2-40B4-BE49-F238E27FC236}">
                <a16:creationId xmlns:a16="http://schemas.microsoft.com/office/drawing/2014/main" xmlns="" id="{8CA9DA2D-0CD0-41A2-A483-882A03587F6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2133" y="138735"/>
            <a:ext cx="1961231" cy="196123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lated image">
            <a:extLst>
              <a:ext uri="{FF2B5EF4-FFF2-40B4-BE49-F238E27FC236}">
                <a16:creationId xmlns:a16="http://schemas.microsoft.com/office/drawing/2014/main" xmlns="" id="{0D2CCFD2-D961-49A9-B52A-6410C2F9AF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2765" y="535713"/>
            <a:ext cx="3872148" cy="2440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xmlns="" id="{0F568CB2-D4FC-4CB4-8A49-BACAD4573F57}"/>
              </a:ext>
            </a:extLst>
          </p:cNvPr>
          <p:cNvSpPr>
            <a:spLocks noGrp="1"/>
          </p:cNvSpPr>
          <p:nvPr>
            <p:ph type="title"/>
          </p:nvPr>
        </p:nvSpPr>
        <p:spPr>
          <a:xfrm>
            <a:off x="1410472" y="126571"/>
            <a:ext cx="7022065" cy="457200"/>
          </a:xfrm>
        </p:spPr>
        <p:txBody>
          <a:bodyPr/>
          <a:lstStyle/>
          <a:p>
            <a:r>
              <a:rPr lang="en-US" sz="2400" b="1" u="sng" dirty="0"/>
              <a:t>Organization</a:t>
            </a:r>
            <a:r>
              <a:rPr lang="en-US" sz="2400" b="1" dirty="0"/>
              <a:t>:  Building Disciplinary Bridges</a:t>
            </a:r>
          </a:p>
        </p:txBody>
      </p:sp>
      <p:sp>
        <p:nvSpPr>
          <p:cNvPr id="4" name="Content Placeholder 3">
            <a:extLst>
              <a:ext uri="{FF2B5EF4-FFF2-40B4-BE49-F238E27FC236}">
                <a16:creationId xmlns:a16="http://schemas.microsoft.com/office/drawing/2014/main" xmlns="" id="{052A67D2-AB63-4E30-8FA6-6AEEC5936BF0}"/>
              </a:ext>
            </a:extLst>
          </p:cNvPr>
          <p:cNvSpPr>
            <a:spLocks noGrp="1"/>
          </p:cNvSpPr>
          <p:nvPr>
            <p:ph sz="quarter" idx="11"/>
          </p:nvPr>
        </p:nvSpPr>
        <p:spPr>
          <a:xfrm>
            <a:off x="449087" y="2164133"/>
            <a:ext cx="3945636" cy="2787343"/>
          </a:xfrm>
        </p:spPr>
        <p:txBody>
          <a:bodyPr/>
          <a:lstStyle/>
          <a:p>
            <a:r>
              <a:rPr lang="en-US" b="1" dirty="0"/>
              <a:t>Growing pressure/urgency</a:t>
            </a:r>
          </a:p>
          <a:p>
            <a:pPr lvl="1"/>
            <a:r>
              <a:rPr lang="en-US" dirty="0"/>
              <a:t>Cyber = general enterprise risk </a:t>
            </a:r>
          </a:p>
          <a:p>
            <a:r>
              <a:rPr lang="en-US" b="1" dirty="0"/>
              <a:t>Structured processes</a:t>
            </a:r>
          </a:p>
          <a:p>
            <a:pPr lvl="1"/>
            <a:r>
              <a:rPr lang="en-US" dirty="0"/>
              <a:t>Meshing discovery, model building/ validation, alerting/remediation</a:t>
            </a:r>
          </a:p>
          <a:p>
            <a:r>
              <a:rPr lang="en-US" b="1" dirty="0"/>
              <a:t>Data engineering as a process </a:t>
            </a:r>
          </a:p>
          <a:p>
            <a:pPr lvl="1"/>
            <a:r>
              <a:rPr lang="en-US" dirty="0"/>
              <a:t>Discovery / exploration</a:t>
            </a:r>
          </a:p>
          <a:p>
            <a:pPr lvl="1"/>
            <a:r>
              <a:rPr lang="en-US" dirty="0"/>
              <a:t>Detection / remediation</a:t>
            </a:r>
          </a:p>
          <a:p>
            <a:endParaRPr lang="en-US" dirty="0"/>
          </a:p>
        </p:txBody>
      </p:sp>
      <p:pic>
        <p:nvPicPr>
          <p:cNvPr id="1028" name="Picture 4" descr="Image result for bailing water sinking rowboat">
            <a:extLst>
              <a:ext uri="{FF2B5EF4-FFF2-40B4-BE49-F238E27FC236}">
                <a16:creationId xmlns:a16="http://schemas.microsoft.com/office/drawing/2014/main" xmlns="" id="{9FAC8CB7-9843-4566-A4BF-EA0FE6A1B6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7167" y="3179399"/>
            <a:ext cx="2244777" cy="182883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628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8"/>
                                        </p:tgtEl>
                                        <p:attrNameLst>
                                          <p:attrName>style.visibility</p:attrName>
                                        </p:attrNameLst>
                                      </p:cBhvr>
                                      <p:to>
                                        <p:strVal val="visible"/>
                                      </p:to>
                                    </p:set>
                                    <p:animEffect transition="in" filter="fade">
                                      <p:cBhvr>
                                        <p:cTn id="11" dur="500"/>
                                        <p:tgtEl>
                                          <p:spTgt spid="10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fade">
                                      <p:cBhvr>
                                        <p:cTn id="29"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00F33E-9799-4E52-9A3A-B38F7FC1B50A}"/>
              </a:ext>
            </a:extLst>
          </p:cNvPr>
          <p:cNvSpPr>
            <a:spLocks noGrp="1"/>
          </p:cNvSpPr>
          <p:nvPr>
            <p:ph type="title"/>
          </p:nvPr>
        </p:nvSpPr>
        <p:spPr>
          <a:xfrm>
            <a:off x="154172" y="46648"/>
            <a:ext cx="8835655" cy="457200"/>
          </a:xfrm>
        </p:spPr>
        <p:txBody>
          <a:bodyPr/>
          <a:lstStyle/>
          <a:p>
            <a:r>
              <a:rPr lang="en-US" sz="2400" b="1" dirty="0"/>
              <a:t>Key Prescribed Treatments: Correlation Between Factors</a:t>
            </a:r>
          </a:p>
        </p:txBody>
      </p:sp>
      <p:graphicFrame>
        <p:nvGraphicFramePr>
          <p:cNvPr id="3" name="Table 2">
            <a:extLst>
              <a:ext uri="{FF2B5EF4-FFF2-40B4-BE49-F238E27FC236}">
                <a16:creationId xmlns:a16="http://schemas.microsoft.com/office/drawing/2014/main" xmlns="" id="{3E6D2F72-2092-46F2-94F1-CC019E57725C}"/>
              </a:ext>
            </a:extLst>
          </p:cNvPr>
          <p:cNvGraphicFramePr>
            <a:graphicFrameLocks noGrp="1"/>
          </p:cNvGraphicFramePr>
          <p:nvPr>
            <p:extLst/>
          </p:nvPr>
        </p:nvGraphicFramePr>
        <p:xfrm>
          <a:off x="418440" y="615608"/>
          <a:ext cx="8405744" cy="4275047"/>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4162568">
                  <a:extLst>
                    <a:ext uri="{9D8B030D-6E8A-4147-A177-3AD203B41FA5}">
                      <a16:colId xmlns:a16="http://schemas.microsoft.com/office/drawing/2014/main" xmlns="" val="2703569942"/>
                    </a:ext>
                  </a:extLst>
                </a:gridCol>
                <a:gridCol w="4243176">
                  <a:extLst>
                    <a:ext uri="{9D8B030D-6E8A-4147-A177-3AD203B41FA5}">
                      <a16:colId xmlns:a16="http://schemas.microsoft.com/office/drawing/2014/main" xmlns="" val="2866447094"/>
                    </a:ext>
                  </a:extLst>
                </a:gridCol>
              </a:tblGrid>
              <a:tr h="526007">
                <a:tc>
                  <a:txBody>
                    <a:bodyPr/>
                    <a:lstStyle/>
                    <a:p>
                      <a:r>
                        <a:rPr lang="en-US" sz="2400" b="1" dirty="0"/>
                        <a:t>Challenge Themes (Factors)</a:t>
                      </a:r>
                    </a:p>
                  </a:txBody>
                  <a:tcPr/>
                </a:tc>
                <a:tc>
                  <a:txBody>
                    <a:bodyPr/>
                    <a:lstStyle/>
                    <a:p>
                      <a:r>
                        <a:rPr lang="en-US" sz="2400" dirty="0"/>
                        <a:t>Best Practice Themes (Factors)</a:t>
                      </a:r>
                    </a:p>
                  </a:txBody>
                  <a:tcPr/>
                </a:tc>
                <a:extLst>
                  <a:ext uri="{0D108BD9-81ED-4DB2-BD59-A6C34878D82A}">
                    <a16:rowId xmlns:a16="http://schemas.microsoft.com/office/drawing/2014/main" xmlns="" val="101493797"/>
                  </a:ext>
                </a:extLst>
              </a:tr>
              <a:tr h="5500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1. Leadership has ‘lost the plot’</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Management-driven chan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Training &amp; program governance</a:t>
                      </a:r>
                    </a:p>
                  </a:txBody>
                  <a:tcPr/>
                </a:tc>
                <a:extLst>
                  <a:ext uri="{0D108BD9-81ED-4DB2-BD59-A6C34878D82A}">
                    <a16:rowId xmlns:a16="http://schemas.microsoft.com/office/drawing/2014/main" xmlns="" val="3784207557"/>
                  </a:ext>
                </a:extLst>
              </a:tr>
              <a:tr h="535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2. Can’t do it all!</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Organizational process engine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Focused scientific processes</a:t>
                      </a:r>
                    </a:p>
                  </a:txBody>
                  <a:tcPr/>
                </a:tc>
                <a:extLst>
                  <a:ext uri="{0D108BD9-81ED-4DB2-BD59-A6C34878D82A}">
                    <a16:rowId xmlns:a16="http://schemas.microsoft.com/office/drawing/2014/main" xmlns="" val="2710314042"/>
                  </a:ext>
                </a:extLst>
              </a:tr>
              <a:tr h="4864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3. Between a rock and a hard pl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   </a:t>
                      </a:r>
                      <a:r>
                        <a:rPr lang="en-US" sz="1400" dirty="0">
                          <a:solidFill>
                            <a:srgbClr val="00517E"/>
                          </a:solidFill>
                          <a:latin typeface="Arial" panose="020B0604020202020204" pitchFamily="34" charset="0"/>
                          <a:cs typeface="Arial" panose="020B0604020202020204" pitchFamily="34" charset="0"/>
                        </a:rPr>
                        <a:t>(limits of rules vs. hype)</a:t>
                      </a:r>
                      <a:endParaRPr lang="en-US" sz="1800" dirty="0">
                        <a:solidFill>
                          <a:srgbClr val="00517E"/>
                        </a:solidFill>
                        <a:latin typeface="Arial" panose="020B0604020202020204" pitchFamily="34" charset="0"/>
                        <a:cs typeface="Arial" panose="020B060402020202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Architecture-driven solu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Semantic frameworks</a:t>
                      </a:r>
                    </a:p>
                  </a:txBody>
                  <a:tcPr/>
                </a:tc>
                <a:extLst>
                  <a:ext uri="{0D108BD9-81ED-4DB2-BD59-A6C34878D82A}">
                    <a16:rowId xmlns:a16="http://schemas.microsoft.com/office/drawing/2014/main" xmlns="" val="3226238346"/>
                  </a:ext>
                </a:extLst>
              </a:tr>
              <a:tr h="5775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4. Scientific contextualis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Training &amp; program govern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517E"/>
                          </a:solidFill>
                          <a:latin typeface="Arial" panose="020B0604020202020204" pitchFamily="34" charset="0"/>
                          <a:cs typeface="Arial" panose="020B0604020202020204" pitchFamily="34" charset="0"/>
                        </a:rPr>
                        <a:t>Data engineering practices</a:t>
                      </a:r>
                    </a:p>
                  </a:txBody>
                  <a:tcPr/>
                </a:tc>
                <a:extLst>
                  <a:ext uri="{0D108BD9-81ED-4DB2-BD59-A6C34878D82A}">
                    <a16:rowId xmlns:a16="http://schemas.microsoft.com/office/drawing/2014/main" xmlns="" val="2359681966"/>
                  </a:ext>
                </a:extLst>
              </a:tr>
              <a:tr h="1180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517E"/>
                          </a:solidFill>
                          <a:latin typeface="Arial" panose="020B0604020202020204" pitchFamily="34" charset="0"/>
                          <a:cs typeface="Arial" panose="020B0604020202020204" pitchFamily="34" charset="0"/>
                        </a:rPr>
                        <a:t>5. Data cleansing: ‘the ugly stepchild’</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Management-driven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Training &amp; program gover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Structured risk quan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Focused scientific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Data engineering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517E"/>
                          </a:solidFill>
                          <a:latin typeface="Arial" panose="020B0604020202020204" pitchFamily="34" charset="0"/>
                          <a:cs typeface="Arial" panose="020B0604020202020204" pitchFamily="34" charset="0"/>
                        </a:rPr>
                        <a:t>Semantic frame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517E"/>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114175996"/>
                  </a:ext>
                </a:extLst>
              </a:tr>
            </a:tbl>
          </a:graphicData>
        </a:graphic>
      </p:graphicFrame>
      <p:sp>
        <p:nvSpPr>
          <p:cNvPr id="7" name="Rectangle: Rounded Corners 6">
            <a:extLst>
              <a:ext uri="{FF2B5EF4-FFF2-40B4-BE49-F238E27FC236}">
                <a16:creationId xmlns:a16="http://schemas.microsoft.com/office/drawing/2014/main" xmlns="" id="{21D62B65-8B18-47A4-A55E-293FC790BF75}"/>
              </a:ext>
            </a:extLst>
          </p:cNvPr>
          <p:cNvSpPr/>
          <p:nvPr/>
        </p:nvSpPr>
        <p:spPr>
          <a:xfrm>
            <a:off x="418439" y="3514106"/>
            <a:ext cx="8405745" cy="1193669"/>
          </a:xfrm>
          <a:prstGeom prst="round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Tree>
    <p:extLst>
      <p:ext uri="{BB962C8B-B14F-4D97-AF65-F5344CB8AC3E}">
        <p14:creationId xmlns:p14="http://schemas.microsoft.com/office/powerpoint/2010/main" val="2014473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EDB927D-A447-4AFD-A1B9-F8821B322FD3}"/>
              </a:ext>
            </a:extLst>
          </p:cNvPr>
          <p:cNvSpPr>
            <a:spLocks noGrp="1"/>
          </p:cNvSpPr>
          <p:nvPr>
            <p:ph type="title"/>
          </p:nvPr>
        </p:nvSpPr>
        <p:spPr>
          <a:xfrm>
            <a:off x="543415" y="171673"/>
            <a:ext cx="8107789" cy="457200"/>
          </a:xfrm>
        </p:spPr>
        <p:txBody>
          <a:bodyPr/>
          <a:lstStyle/>
          <a:p>
            <a:r>
              <a:rPr lang="en-US" sz="2400" b="1" u="sng" dirty="0"/>
              <a:t>Process</a:t>
            </a:r>
            <a:r>
              <a:rPr lang="en-US" sz="2400" b="1" dirty="0"/>
              <a:t>: Machine Learning Segmentation versus Classification</a:t>
            </a:r>
          </a:p>
        </p:txBody>
      </p:sp>
      <p:sp>
        <p:nvSpPr>
          <p:cNvPr id="4" name="Content Placeholder 3">
            <a:extLst>
              <a:ext uri="{FF2B5EF4-FFF2-40B4-BE49-F238E27FC236}">
                <a16:creationId xmlns:a16="http://schemas.microsoft.com/office/drawing/2014/main" xmlns="" id="{0654E2E8-1927-4FB9-8975-3B2F3114587A}"/>
              </a:ext>
            </a:extLst>
          </p:cNvPr>
          <p:cNvSpPr>
            <a:spLocks noGrp="1"/>
          </p:cNvSpPr>
          <p:nvPr>
            <p:ph sz="quarter" idx="11"/>
          </p:nvPr>
        </p:nvSpPr>
        <p:spPr>
          <a:xfrm>
            <a:off x="814469" y="4514627"/>
            <a:ext cx="7891272" cy="228391"/>
          </a:xfrm>
        </p:spPr>
        <p:txBody>
          <a:bodyPr>
            <a:normAutofit fontScale="92500" lnSpcReduction="10000"/>
          </a:bodyPr>
          <a:lstStyle/>
          <a:p>
            <a:pPr marL="0" indent="0">
              <a:buNone/>
            </a:pPr>
            <a:r>
              <a:rPr lang="en-US" sz="1200" dirty="0">
                <a:hlinkClick r:id="rId2"/>
              </a:rPr>
              <a:t>https://medium.com/datadriveninvestor/differences-between-ai-and-machine-learning-and-why-it-matters-1255b182fc6</a:t>
            </a:r>
            <a:r>
              <a:rPr lang="en-US" sz="1200" dirty="0"/>
              <a:t> </a:t>
            </a:r>
          </a:p>
        </p:txBody>
      </p:sp>
      <p:pic>
        <p:nvPicPr>
          <p:cNvPr id="1026" name="Picture 2" descr="https://cdn-images-1.medium.com/max/800/0*MV_bvNDX3LPD6ks6.jpg">
            <a:extLst>
              <a:ext uri="{FF2B5EF4-FFF2-40B4-BE49-F238E27FC236}">
                <a16:creationId xmlns:a16="http://schemas.microsoft.com/office/drawing/2014/main" xmlns="" id="{B96B147B-A83B-4734-AA16-10784A735AA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14469" y="748175"/>
            <a:ext cx="3417897" cy="36471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cdn-images-1.medium.com/max/800/0*MV_bvNDX3LPD6ks6.jpg">
            <a:extLst>
              <a:ext uri="{FF2B5EF4-FFF2-40B4-BE49-F238E27FC236}">
                <a16:creationId xmlns:a16="http://schemas.microsoft.com/office/drawing/2014/main" xmlns="" id="{321FEEED-5FB8-4713-A1D6-32DBCD39AEE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906864" y="719248"/>
            <a:ext cx="3474720" cy="3647150"/>
          </a:xfrm>
          <a:prstGeom prst="rect">
            <a:avLst/>
          </a:prstGeom>
          <a:noFill/>
          <a:extLst>
            <a:ext uri="{909E8E84-426E-40DD-AFC4-6F175D3DCCD1}">
              <a14:hiddenFill xmlns:a14="http://schemas.microsoft.com/office/drawing/2010/main">
                <a:solidFill>
                  <a:srgbClr val="FFFFFF"/>
                </a:solidFill>
              </a14:hiddenFill>
            </a:ext>
          </a:extLst>
        </p:spPr>
      </p:pic>
      <p:sp>
        <p:nvSpPr>
          <p:cNvPr id="7" name="Arrow: Left-Right 6">
            <a:extLst>
              <a:ext uri="{FF2B5EF4-FFF2-40B4-BE49-F238E27FC236}">
                <a16:creationId xmlns:a16="http://schemas.microsoft.com/office/drawing/2014/main" xmlns="" id="{E8EE535E-3DCB-4B61-8D33-058BC400A5AE}"/>
              </a:ext>
            </a:extLst>
          </p:cNvPr>
          <p:cNvSpPr/>
          <p:nvPr/>
        </p:nvSpPr>
        <p:spPr>
          <a:xfrm>
            <a:off x="3950109" y="2347763"/>
            <a:ext cx="1243781" cy="611618"/>
          </a:xfrm>
          <a:prstGeom prst="leftRightArrow">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xmlns="" id="{974C73CD-7C31-47F8-93F0-7C5E3E4C0C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95388" y="627157"/>
            <a:ext cx="1408641" cy="1022834"/>
          </a:xfrm>
          <a:prstGeom prst="rect">
            <a:avLst/>
          </a:prstGeom>
        </p:spPr>
      </p:pic>
      <p:pic>
        <p:nvPicPr>
          <p:cNvPr id="9" name="Picture 8">
            <a:extLst>
              <a:ext uri="{FF2B5EF4-FFF2-40B4-BE49-F238E27FC236}">
                <a16:creationId xmlns:a16="http://schemas.microsoft.com/office/drawing/2014/main" xmlns="" id="{1B8CCB8F-CE4A-47AE-9AAA-E2177F1964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558" y="670087"/>
            <a:ext cx="1654519" cy="1104635"/>
          </a:xfrm>
          <a:prstGeom prst="rect">
            <a:avLst/>
          </a:prstGeom>
        </p:spPr>
      </p:pic>
    </p:spTree>
    <p:extLst>
      <p:ext uri="{BB962C8B-B14F-4D97-AF65-F5344CB8AC3E}">
        <p14:creationId xmlns:p14="http://schemas.microsoft.com/office/powerpoint/2010/main" val="2505128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26" name="Picture 2" descr="Image result for here's a nickel go buy yourself a computer">
            <a:extLst>
              <a:ext uri="{FF2B5EF4-FFF2-40B4-BE49-F238E27FC236}">
                <a16:creationId xmlns:a16="http://schemas.microsoft.com/office/drawing/2014/main" xmlns="" id="{1018904C-1BAD-4346-96B8-383615F2C6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249" y="1233368"/>
            <a:ext cx="8825501" cy="26767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08A1D91D-849C-4FB8-A15B-9F12AD5727E2}"/>
              </a:ext>
            </a:extLst>
          </p:cNvPr>
          <p:cNvSpPr txBox="1"/>
          <p:nvPr/>
        </p:nvSpPr>
        <p:spPr>
          <a:xfrm>
            <a:off x="345847" y="318161"/>
            <a:ext cx="8638903" cy="584775"/>
          </a:xfrm>
          <a:prstGeom prst="rect">
            <a:avLst/>
          </a:prstGeom>
          <a:noFill/>
        </p:spPr>
        <p:txBody>
          <a:bodyPr wrap="none" rtlCol="0">
            <a:spAutoFit/>
          </a:bodyPr>
          <a:lstStyle/>
          <a:p>
            <a:r>
              <a:rPr lang="en-US" sz="3200" b="1" u="sng"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7</a:t>
            </a:r>
            <a:r>
              <a:rPr lang="en-US"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THE CAUTIOUS TRADITIONALISTS”</a:t>
            </a:r>
          </a:p>
        </p:txBody>
      </p:sp>
    </p:spTree>
    <p:extLst>
      <p:ext uri="{BB962C8B-B14F-4D97-AF65-F5344CB8AC3E}">
        <p14:creationId xmlns:p14="http://schemas.microsoft.com/office/powerpoint/2010/main" val="131008467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p:cNvCxnSpPr/>
          <p:nvPr/>
        </p:nvCxnSpPr>
        <p:spPr>
          <a:xfrm flipV="1">
            <a:off x="97536" y="1402081"/>
            <a:ext cx="9003792" cy="3218660"/>
          </a:xfrm>
          <a:prstGeom prst="straightConnector1">
            <a:avLst/>
          </a:prstGeom>
          <a:ln>
            <a:headEnd type="oval" w="med" len="med"/>
            <a:tailEnd type="triangle" w="lg" len="med"/>
          </a:ln>
        </p:spPr>
        <p:style>
          <a:lnRef idx="3">
            <a:schemeClr val="accent4"/>
          </a:lnRef>
          <a:fillRef idx="0">
            <a:schemeClr val="accent4"/>
          </a:fillRef>
          <a:effectRef idx="2">
            <a:schemeClr val="accent4"/>
          </a:effectRef>
          <a:fontRef idx="minor">
            <a:schemeClr val="tx1"/>
          </a:fontRef>
        </p:style>
      </p:cxnSp>
      <p:sp>
        <p:nvSpPr>
          <p:cNvPr id="9" name="Rectangle 8"/>
          <p:cNvSpPr/>
          <p:nvPr/>
        </p:nvSpPr>
        <p:spPr>
          <a:xfrm>
            <a:off x="169319" y="777063"/>
            <a:ext cx="2128012" cy="549076"/>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Anomaly Detection</a:t>
            </a:r>
            <a:endParaRPr lang="en-GB" sz="2000" b="1" dirty="0">
              <a:solidFill>
                <a:schemeClr val="bg1"/>
              </a:solidFill>
            </a:endParaRPr>
          </a:p>
        </p:txBody>
      </p:sp>
      <p:sp>
        <p:nvSpPr>
          <p:cNvPr id="14" name="Rectangle 13"/>
          <p:cNvSpPr/>
          <p:nvPr/>
        </p:nvSpPr>
        <p:spPr>
          <a:xfrm>
            <a:off x="4649188" y="777063"/>
            <a:ext cx="2212848" cy="542980"/>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Predictive Detection</a:t>
            </a:r>
            <a:endParaRPr lang="en-GB" sz="2000" b="1" dirty="0">
              <a:solidFill>
                <a:schemeClr val="bg1"/>
              </a:solidFill>
            </a:endParaRPr>
          </a:p>
        </p:txBody>
      </p:sp>
      <p:sp>
        <p:nvSpPr>
          <p:cNvPr id="15" name="Rectangle 14"/>
          <p:cNvSpPr/>
          <p:nvPr/>
        </p:nvSpPr>
        <p:spPr>
          <a:xfrm>
            <a:off x="6942616" y="777063"/>
            <a:ext cx="2009748" cy="545484"/>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solidFill>
              </a:rPr>
              <a:t>Risk Awareness / </a:t>
            </a:r>
          </a:p>
          <a:p>
            <a:pPr algn="ctr"/>
            <a:r>
              <a:rPr lang="en-US" sz="1400" b="1" dirty="0">
                <a:solidFill>
                  <a:schemeClr val="bg1"/>
                </a:solidFill>
              </a:rPr>
              <a:t>Resource Optimization</a:t>
            </a:r>
            <a:endParaRPr lang="en-GB" sz="1400" b="1" dirty="0">
              <a:solidFill>
                <a:schemeClr val="bg1"/>
              </a:solidFill>
            </a:endParaRPr>
          </a:p>
        </p:txBody>
      </p:sp>
      <p:sp>
        <p:nvSpPr>
          <p:cNvPr id="3" name="Rectangle: Rounded Corners 2"/>
          <p:cNvSpPr/>
          <p:nvPr/>
        </p:nvSpPr>
        <p:spPr>
          <a:xfrm>
            <a:off x="169317" y="1402081"/>
            <a:ext cx="2138470" cy="3152318"/>
          </a:xfrm>
          <a:prstGeom prst="roundRect">
            <a:avLst/>
          </a:prstGeom>
          <a:solidFill>
            <a:schemeClr val="lt1">
              <a:alpha val="9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 tIns="45720" rIns="18288" bIns="45720" numCol="1" spcCol="0" rtlCol="0" fromWordArt="0" anchor="t" anchorCtr="0" forceAA="0" compatLnSpc="1">
            <a:prstTxWarp prst="textNoShape">
              <a:avLst/>
            </a:prstTxWarp>
            <a:noAutofit/>
          </a:bodyPr>
          <a:lstStyle/>
          <a:p>
            <a:pPr marL="114297" indent="-114297">
              <a:buFont typeface="Arial" panose="020B0604020202020204" pitchFamily="34" charset="0"/>
              <a:buChar char="•"/>
            </a:pPr>
            <a:endParaRPr lang="en-US" sz="100" b="1" dirty="0">
              <a:solidFill>
                <a:schemeClr val="accent3"/>
              </a:solidFill>
            </a:endParaRPr>
          </a:p>
          <a:p>
            <a:pPr marL="114297" indent="-114297">
              <a:buFont typeface="Arial" panose="020B0604020202020204" pitchFamily="34" charset="0"/>
              <a:buChar char="•"/>
            </a:pPr>
            <a:r>
              <a:rPr lang="en-US" sz="1600" b="1" dirty="0">
                <a:solidFill>
                  <a:schemeClr val="accent3"/>
                </a:solidFill>
              </a:rPr>
              <a:t>Big data overload</a:t>
            </a:r>
          </a:p>
          <a:p>
            <a:pPr marL="115885" indent="-112710">
              <a:buFont typeface="Arial" panose="020B0604020202020204" pitchFamily="34" charset="0"/>
              <a:buChar char="•"/>
            </a:pPr>
            <a:r>
              <a:rPr lang="en-US" sz="1600" b="1" dirty="0">
                <a:solidFill>
                  <a:schemeClr val="accent3"/>
                </a:solidFill>
              </a:rPr>
              <a:t>Flags, rules, and alerts</a:t>
            </a:r>
          </a:p>
        </p:txBody>
      </p:sp>
      <p:pic>
        <p:nvPicPr>
          <p:cNvPr id="27" name="Picture 2" descr="access, cloud, data, database, device, disk, drive, harddrive, save, server, storage icon"/>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81729" y="3828989"/>
            <a:ext cx="672341" cy="6723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67" name="Rectangle: Rounded Corners 66"/>
          <p:cNvSpPr/>
          <p:nvPr/>
        </p:nvSpPr>
        <p:spPr>
          <a:xfrm>
            <a:off x="4656357" y="1402081"/>
            <a:ext cx="2199875" cy="3152318"/>
          </a:xfrm>
          <a:prstGeom prst="roundRect">
            <a:avLst/>
          </a:prstGeom>
          <a:solidFill>
            <a:schemeClr val="lt1">
              <a:alpha val="9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 tIns="45720" rIns="18288" bIns="45720" numCol="1" spcCol="0" rtlCol="0" fromWordArt="0" anchor="t" anchorCtr="0" forceAA="0" compatLnSpc="1">
            <a:prstTxWarp prst="textNoShape">
              <a:avLst/>
            </a:prstTxWarp>
            <a:noAutofit/>
          </a:bodyPr>
          <a:lstStyle/>
          <a:p>
            <a:pPr algn="ctr"/>
            <a:r>
              <a:rPr lang="en-US" sz="2800" b="1" u="sng" dirty="0">
                <a:solidFill>
                  <a:schemeClr val="accent3"/>
                </a:solidFill>
              </a:rPr>
              <a:t>Learning</a:t>
            </a:r>
            <a:endParaRPr lang="en-US" b="1" u="sng" dirty="0">
              <a:solidFill>
                <a:schemeClr val="accent3"/>
              </a:solidFill>
            </a:endParaRPr>
          </a:p>
          <a:p>
            <a:pPr marL="114297" indent="-114297">
              <a:buFont typeface="Arial" panose="020B0604020202020204" pitchFamily="34" charset="0"/>
              <a:buChar char="•"/>
            </a:pPr>
            <a:r>
              <a:rPr lang="en-US" b="1" dirty="0">
                <a:solidFill>
                  <a:schemeClr val="accent3"/>
                </a:solidFill>
              </a:rPr>
              <a:t>Human-in-the-loop </a:t>
            </a:r>
            <a:r>
              <a:rPr lang="en-US" b="1" i="1" dirty="0">
                <a:solidFill>
                  <a:schemeClr val="accent3"/>
                </a:solidFill>
              </a:rPr>
              <a:t>reinforcement learning</a:t>
            </a:r>
          </a:p>
          <a:p>
            <a:pPr marL="114297" indent="-114297">
              <a:buFont typeface="Arial" panose="020B0604020202020204" pitchFamily="34" charset="0"/>
              <a:buChar char="•"/>
            </a:pPr>
            <a:r>
              <a:rPr lang="en-US" sz="2000" b="1" i="1" dirty="0">
                <a:solidFill>
                  <a:schemeClr val="accent3"/>
                </a:solidFill>
              </a:rPr>
              <a:t>Semi- and Supervised ML</a:t>
            </a:r>
          </a:p>
          <a:p>
            <a:pPr marL="114297" indent="-114297">
              <a:buFont typeface="Arial" panose="020B0604020202020204" pitchFamily="34" charset="0"/>
              <a:buChar char="•"/>
            </a:pPr>
            <a:endParaRPr lang="en-US" b="1" dirty="0">
              <a:solidFill>
                <a:schemeClr val="accent3"/>
              </a:solidFill>
            </a:endParaRPr>
          </a:p>
          <a:p>
            <a:pPr marL="114297" indent="-114297">
              <a:buFont typeface="Arial" panose="020B0604020202020204" pitchFamily="34" charset="0"/>
              <a:buChar char="•"/>
            </a:pPr>
            <a:endParaRPr lang="en-US" b="1" dirty="0">
              <a:solidFill>
                <a:schemeClr val="accent3"/>
              </a:solidFill>
            </a:endParaRPr>
          </a:p>
        </p:txBody>
      </p:sp>
      <p:sp>
        <p:nvSpPr>
          <p:cNvPr id="69" name="Rectangle: Rounded Corners 68"/>
          <p:cNvSpPr/>
          <p:nvPr/>
        </p:nvSpPr>
        <p:spPr>
          <a:xfrm>
            <a:off x="6942616" y="1402081"/>
            <a:ext cx="2009748" cy="3152318"/>
          </a:xfrm>
          <a:prstGeom prst="roundRect">
            <a:avLst/>
          </a:prstGeom>
          <a:solidFill>
            <a:schemeClr val="lt1">
              <a:alpha val="9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 tIns="45720" rIns="9144" bIns="45720" numCol="1" spcCol="0" rtlCol="0" fromWordArt="0" anchor="t" anchorCtr="0" forceAA="0" compatLnSpc="1">
            <a:prstTxWarp prst="textNoShape">
              <a:avLst/>
            </a:prstTxWarp>
            <a:noAutofit/>
          </a:bodyPr>
          <a:lstStyle/>
          <a:p>
            <a:pPr algn="ctr"/>
            <a:r>
              <a:rPr lang="en-US" sz="2400" b="1" u="sng" dirty="0">
                <a:solidFill>
                  <a:schemeClr val="accent3"/>
                </a:solidFill>
              </a:rPr>
              <a:t>Risk Optimal</a:t>
            </a:r>
          </a:p>
          <a:p>
            <a:pPr marL="112710" indent="-112710">
              <a:buFont typeface="Arial" panose="020B0604020202020204" pitchFamily="34" charset="0"/>
              <a:buChar char="•"/>
            </a:pPr>
            <a:r>
              <a:rPr lang="en-US" b="1" dirty="0">
                <a:solidFill>
                  <a:schemeClr val="accent3"/>
                </a:solidFill>
              </a:rPr>
              <a:t>Champion-challenger model management</a:t>
            </a:r>
            <a:endParaRPr lang="en-US" sz="700" b="1" dirty="0">
              <a:solidFill>
                <a:schemeClr val="accent3"/>
              </a:solidFill>
            </a:endParaRPr>
          </a:p>
          <a:p>
            <a:pPr marL="112710" indent="-112710">
              <a:buFont typeface="Arial" panose="020B0604020202020204" pitchFamily="34" charset="0"/>
              <a:buChar char="•"/>
            </a:pPr>
            <a:r>
              <a:rPr lang="en-US" b="1" dirty="0">
                <a:solidFill>
                  <a:schemeClr val="accent3"/>
                </a:solidFill>
              </a:rPr>
              <a:t>Automating alert triage</a:t>
            </a:r>
          </a:p>
          <a:p>
            <a:pPr marL="112710" indent="-112710">
              <a:buFont typeface="Arial" panose="020B0604020202020204" pitchFamily="34" charset="0"/>
              <a:buChar char="•"/>
            </a:pPr>
            <a:r>
              <a:rPr lang="en-US" b="1" dirty="0">
                <a:solidFill>
                  <a:schemeClr val="accent3"/>
                </a:solidFill>
              </a:rPr>
              <a:t>Resource optimization</a:t>
            </a:r>
          </a:p>
        </p:txBody>
      </p:sp>
      <p:pic>
        <p:nvPicPr>
          <p:cNvPr id="21" name="Picture 3"/>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p:blipFill>
        <p:spPr bwMode="auto">
          <a:xfrm>
            <a:off x="8189201" y="3848942"/>
            <a:ext cx="652272" cy="676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 name="Group 31"/>
          <p:cNvGrpSpPr/>
          <p:nvPr/>
        </p:nvGrpSpPr>
        <p:grpSpPr>
          <a:xfrm>
            <a:off x="7159893" y="3923370"/>
            <a:ext cx="621000" cy="540000"/>
            <a:chOff x="5175940" y="1305855"/>
            <a:chExt cx="1323794" cy="1134308"/>
          </a:xfrm>
          <a:effectLst>
            <a:outerShdw blurRad="50800" dist="38100" dir="2700000" algn="tl" rotWithShape="0">
              <a:prstClr val="black">
                <a:alpha val="40000"/>
              </a:prstClr>
            </a:outerShdw>
          </a:effectLst>
        </p:grpSpPr>
        <p:pic>
          <p:nvPicPr>
            <p:cNvPr id="33" name="Picture 3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175940" y="1305855"/>
              <a:ext cx="1267297" cy="1134308"/>
            </a:xfrm>
            <a:prstGeom prst="rect">
              <a:avLst/>
            </a:prstGeom>
          </p:spPr>
        </p:pic>
        <p:pic>
          <p:nvPicPr>
            <p:cNvPr id="34" name="Picture 3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924937" y="1579738"/>
              <a:ext cx="574797" cy="520172"/>
            </a:xfrm>
            <a:prstGeom prst="rect">
              <a:avLst/>
            </a:prstGeom>
          </p:spPr>
        </p:pic>
      </p:grpSp>
      <p:pic>
        <p:nvPicPr>
          <p:cNvPr id="42" name="Picture 42" descr="http://rhoatea.com/wp-content/uploads/2015/07/Graph-Icon.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2971" y="3885357"/>
            <a:ext cx="615973" cy="615973"/>
          </a:xfrm>
          <a:prstGeom prst="rect">
            <a:avLst/>
          </a:prstGeom>
          <a:noFill/>
          <a:extLst>
            <a:ext uri="{909E8E84-426E-40dd-AFC4-6F175D3DCCD1}">
              <a14:hiddenFill xmlns:a14="http://schemas.microsoft.com/office/drawing/2010/main" xmlns="">
                <a:solidFill>
                  <a:srgbClr val="FFFFFF"/>
                </a:solidFill>
              </a14:hiddenFill>
            </a:ext>
          </a:extLst>
        </p:spPr>
      </p:pic>
      <p:grpSp>
        <p:nvGrpSpPr>
          <p:cNvPr id="44" name="Group 43"/>
          <p:cNvGrpSpPr/>
          <p:nvPr/>
        </p:nvGrpSpPr>
        <p:grpSpPr>
          <a:xfrm>
            <a:off x="5981388" y="3891346"/>
            <a:ext cx="654913" cy="625363"/>
            <a:chOff x="1639605" y="815084"/>
            <a:chExt cx="988853" cy="1018162"/>
          </a:xfrm>
        </p:grpSpPr>
        <p:cxnSp>
          <p:nvCxnSpPr>
            <p:cNvPr id="45" name="Straight Connector 44"/>
            <p:cNvCxnSpPr>
              <a:stCxn id="59" idx="6"/>
              <a:endCxn id="57" idx="0"/>
            </p:cNvCxnSpPr>
            <p:nvPr/>
          </p:nvCxnSpPr>
          <p:spPr>
            <a:xfrm>
              <a:off x="1888814" y="1301217"/>
              <a:ext cx="247739"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57" idx="0"/>
              <a:endCxn id="53" idx="2"/>
            </p:cNvCxnSpPr>
            <p:nvPr/>
          </p:nvCxnSpPr>
          <p:spPr>
            <a:xfrm flipV="1">
              <a:off x="2136553" y="1301217"/>
              <a:ext cx="242696" cy="283762"/>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55" idx="4"/>
              <a:endCxn id="53" idx="2"/>
            </p:cNvCxnSpPr>
            <p:nvPr/>
          </p:nvCxnSpPr>
          <p:spPr>
            <a:xfrm>
              <a:off x="2144375" y="1064033"/>
              <a:ext cx="234874"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a:stCxn id="55" idx="4"/>
              <a:endCxn id="59" idx="6"/>
            </p:cNvCxnSpPr>
            <p:nvPr/>
          </p:nvCxnSpPr>
          <p:spPr>
            <a:xfrm flipH="1">
              <a:off x="1888814" y="1064033"/>
              <a:ext cx="255561" cy="237184"/>
            </a:xfrm>
            <a:prstGeom prst="line">
              <a:avLst/>
            </a:prstGeom>
            <a:ln w="50800" cmpd="sng"/>
            <a:effectLst>
              <a:outerShdw blurRad="50800" dir="10800000" algn="ctr" rotWithShape="0">
                <a:prstClr val="black">
                  <a:alpha val="50000"/>
                </a:prstClr>
              </a:outerShdw>
            </a:effectLst>
          </p:spPr>
          <p:style>
            <a:lnRef idx="2">
              <a:schemeClr val="accent1"/>
            </a:lnRef>
            <a:fillRef idx="0">
              <a:schemeClr val="accent1"/>
            </a:fillRef>
            <a:effectRef idx="1">
              <a:schemeClr val="accent1"/>
            </a:effectRef>
            <a:fontRef idx="minor">
              <a:schemeClr val="tx1"/>
            </a:fontRef>
          </p:style>
        </p:cxnSp>
        <p:grpSp>
          <p:nvGrpSpPr>
            <p:cNvPr id="49" name="Group 48"/>
            <p:cNvGrpSpPr/>
            <p:nvPr/>
          </p:nvGrpSpPr>
          <p:grpSpPr>
            <a:xfrm>
              <a:off x="1639605" y="1176742"/>
              <a:ext cx="249209" cy="248949"/>
              <a:chOff x="1639605" y="1176742"/>
              <a:chExt cx="249209" cy="248949"/>
            </a:xfrm>
          </p:grpSpPr>
          <p:sp>
            <p:nvSpPr>
              <p:cNvPr id="59" name="Oval 58"/>
              <p:cNvSpPr>
                <a:spLocks noChangeAspect="1"/>
              </p:cNvSpPr>
              <p:nvPr/>
            </p:nvSpPr>
            <p:spPr>
              <a:xfrm>
                <a:off x="1639605"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60" name="Picture 5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688138" y="1188719"/>
                <a:ext cx="145792" cy="181615"/>
              </a:xfrm>
              <a:prstGeom prst="rect">
                <a:avLst/>
              </a:prstGeom>
            </p:spPr>
          </p:pic>
        </p:grpSp>
        <p:grpSp>
          <p:nvGrpSpPr>
            <p:cNvPr id="50" name="Group 49"/>
            <p:cNvGrpSpPr/>
            <p:nvPr/>
          </p:nvGrpSpPr>
          <p:grpSpPr>
            <a:xfrm>
              <a:off x="2012290" y="1584979"/>
              <a:ext cx="248526" cy="248267"/>
              <a:chOff x="2012290" y="1584979"/>
              <a:chExt cx="248526" cy="248267"/>
            </a:xfrm>
          </p:grpSpPr>
          <p:sp>
            <p:nvSpPr>
              <p:cNvPr id="57" name="Oval 56"/>
              <p:cNvSpPr>
                <a:spLocks noChangeAspect="1"/>
              </p:cNvSpPr>
              <p:nvPr/>
            </p:nvSpPr>
            <p:spPr>
              <a:xfrm>
                <a:off x="2012290" y="1584979"/>
                <a:ext cx="248526" cy="248267"/>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64343" y="1615321"/>
                <a:ext cx="143380" cy="181829"/>
              </a:xfrm>
              <a:prstGeom prst="rect">
                <a:avLst/>
              </a:prstGeom>
              <a:ln w="25400">
                <a:noFill/>
              </a:ln>
            </p:spPr>
          </p:pic>
        </p:grpSp>
        <p:grpSp>
          <p:nvGrpSpPr>
            <p:cNvPr id="51" name="Group 50"/>
            <p:cNvGrpSpPr/>
            <p:nvPr/>
          </p:nvGrpSpPr>
          <p:grpSpPr>
            <a:xfrm>
              <a:off x="2019770" y="815084"/>
              <a:ext cx="249209" cy="248949"/>
              <a:chOff x="2019770" y="815084"/>
              <a:chExt cx="249209" cy="248949"/>
            </a:xfrm>
          </p:grpSpPr>
          <p:sp>
            <p:nvSpPr>
              <p:cNvPr id="55" name="Oval 54"/>
              <p:cNvSpPr>
                <a:spLocks noChangeAspect="1"/>
              </p:cNvSpPr>
              <p:nvPr/>
            </p:nvSpPr>
            <p:spPr>
              <a:xfrm>
                <a:off x="2019770" y="815084"/>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56" name="Picture 5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3200" y="824561"/>
                <a:ext cx="142348" cy="181535"/>
              </a:xfrm>
              <a:prstGeom prst="rect">
                <a:avLst/>
              </a:prstGeom>
            </p:spPr>
          </p:pic>
        </p:grpSp>
        <p:grpSp>
          <p:nvGrpSpPr>
            <p:cNvPr id="52" name="Group 51"/>
            <p:cNvGrpSpPr/>
            <p:nvPr/>
          </p:nvGrpSpPr>
          <p:grpSpPr>
            <a:xfrm>
              <a:off x="2379249" y="1176742"/>
              <a:ext cx="249209" cy="248949"/>
              <a:chOff x="2379249" y="1176742"/>
              <a:chExt cx="249209" cy="248949"/>
            </a:xfrm>
          </p:grpSpPr>
          <p:sp>
            <p:nvSpPr>
              <p:cNvPr id="53" name="Oval 52"/>
              <p:cNvSpPr>
                <a:spLocks noChangeAspect="1"/>
              </p:cNvSpPr>
              <p:nvPr/>
            </p:nvSpPr>
            <p:spPr>
              <a:xfrm>
                <a:off x="2379249" y="1176742"/>
                <a:ext cx="249209" cy="248949"/>
              </a:xfrm>
              <a:prstGeom prst="ellipse">
                <a:avLst/>
              </a:prstGeom>
              <a:gradFill flip="none" rotWithShape="1">
                <a:gsLst>
                  <a:gs pos="50000">
                    <a:srgbClr val="48ACE5"/>
                  </a:gs>
                  <a:gs pos="0">
                    <a:srgbClr val="005DA3"/>
                  </a:gs>
                  <a:gs pos="100000">
                    <a:srgbClr val="00549A"/>
                  </a:gs>
                  <a:gs pos="20000">
                    <a:srgbClr val="0E86CA"/>
                  </a:gs>
                  <a:gs pos="80000">
                    <a:schemeClr val="accent1"/>
                  </a:gs>
                </a:gsLst>
                <a:lin ang="16200000" scaled="1"/>
                <a:tileRect/>
              </a:gradFill>
              <a:ln w="25400" cmpd="sng">
                <a:solidFill>
                  <a:srgbClr val="42BBFF"/>
                </a:solidFill>
              </a:ln>
              <a:effectLst>
                <a:outerShdw blurRad="50800" dir="10800000" algn="c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a:lnSpc>
                    <a:spcPct val="90000"/>
                  </a:lnSpc>
                </a:pPr>
                <a:endParaRPr lang="en-US" sz="600" b="1" dirty="0">
                  <a:solidFill>
                    <a:schemeClr val="bg1"/>
                  </a:solidFill>
                  <a:effectLst>
                    <a:outerShdw blurRad="38100" dist="38100" dir="2700000" algn="tl">
                      <a:srgbClr val="000000">
                        <a:alpha val="43137"/>
                      </a:srgbClr>
                    </a:outerShdw>
                  </a:effectLst>
                </a:endParaRPr>
              </a:p>
            </p:txBody>
          </p:sp>
          <p:pic>
            <p:nvPicPr>
              <p:cNvPr id="54" name="Picture 5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427092" y="1200632"/>
                <a:ext cx="153523" cy="201168"/>
              </a:xfrm>
              <a:prstGeom prst="rect">
                <a:avLst/>
              </a:prstGeom>
            </p:spPr>
          </p:pic>
        </p:grpSp>
      </p:grpSp>
      <p:grpSp>
        <p:nvGrpSpPr>
          <p:cNvPr id="61" name="Group 66"/>
          <p:cNvGrpSpPr>
            <a:grpSpLocks/>
          </p:cNvGrpSpPr>
          <p:nvPr/>
        </p:nvGrpSpPr>
        <p:grpSpPr bwMode="auto">
          <a:xfrm>
            <a:off x="4760105" y="3926541"/>
            <a:ext cx="754156" cy="500134"/>
            <a:chOff x="1681130" y="3231994"/>
            <a:chExt cx="971585" cy="658594"/>
          </a:xfrm>
        </p:grpSpPr>
        <p:pic>
          <p:nvPicPr>
            <p:cNvPr id="62" name="Picture 61" descr="Dataset.png"/>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147290" y="3232093"/>
              <a:ext cx="504755" cy="565074"/>
            </a:xfrm>
            <a:prstGeom prst="rect">
              <a:avLst/>
            </a:prstGeom>
            <a:effectLst>
              <a:outerShdw blurRad="50800" dist="38100" dir="5400000" algn="t" rotWithShape="0">
                <a:prstClr val="black">
                  <a:alpha val="40000"/>
                </a:prstClr>
              </a:outerShdw>
            </a:effectLst>
          </p:spPr>
        </p:pic>
        <p:pic>
          <p:nvPicPr>
            <p:cNvPr id="63" name="Picture 28" descr="Magnifying-Glass.png"/>
            <p:cNvPicPr>
              <a:picLocks noChangeAspect="1"/>
            </p:cNvPicPr>
            <p:nvPr/>
          </p:nvPicPr>
          <p:blipFill>
            <a:blip r:embed="rId14" cstate="screen">
              <a:extLst>
                <a:ext uri="{28A0092B-C50C-407E-A947-70E740481C1C}">
                  <a14:useLocalDpi xmlns:a14="http://schemas.microsoft.com/office/drawing/2010/main" val="0"/>
                </a:ext>
              </a:extLst>
            </a:blip>
            <a:srcRect/>
            <a:stretch>
              <a:fillRect/>
            </a:stretch>
          </p:blipFill>
          <p:spPr bwMode="auto">
            <a:xfrm rot="3965089">
              <a:off x="1880899" y="3247769"/>
              <a:ext cx="443050" cy="842587"/>
            </a:xfrm>
            <a:prstGeom prst="rect">
              <a:avLst/>
            </a:prstGeom>
            <a:noFill/>
            <a:ln w="9525">
              <a:noFill/>
              <a:miter lim="800000"/>
              <a:headEnd/>
              <a:tailEnd/>
            </a:ln>
          </p:spPr>
        </p:pic>
      </p:grpSp>
      <p:sp>
        <p:nvSpPr>
          <p:cNvPr id="71" name="Title 1"/>
          <p:cNvSpPr>
            <a:spLocks noGrp="1"/>
          </p:cNvSpPr>
          <p:nvPr>
            <p:ph type="title"/>
          </p:nvPr>
        </p:nvSpPr>
        <p:spPr>
          <a:xfrm>
            <a:off x="624065" y="115915"/>
            <a:ext cx="7891272" cy="457200"/>
          </a:xfrm>
        </p:spPr>
        <p:txBody>
          <a:bodyPr/>
          <a:lstStyle/>
          <a:p>
            <a:r>
              <a:rPr lang="en-US" b="1" dirty="0"/>
              <a:t>Cybersecurity Analytics Maturity Model</a:t>
            </a:r>
          </a:p>
        </p:txBody>
      </p:sp>
      <p:sp>
        <p:nvSpPr>
          <p:cNvPr id="73" name="Rectangle 72"/>
          <p:cNvSpPr/>
          <p:nvPr/>
        </p:nvSpPr>
        <p:spPr>
          <a:xfrm>
            <a:off x="2388763" y="777063"/>
            <a:ext cx="2179845" cy="542980"/>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Data-aware Investigations</a:t>
            </a:r>
            <a:endParaRPr lang="en-GB" sz="2000" b="1" dirty="0">
              <a:solidFill>
                <a:schemeClr val="bg1"/>
              </a:solidFill>
            </a:endParaRPr>
          </a:p>
        </p:txBody>
      </p:sp>
      <p:sp>
        <p:nvSpPr>
          <p:cNvPr id="74" name="Rectangle: Rounded Corners 73"/>
          <p:cNvSpPr/>
          <p:nvPr/>
        </p:nvSpPr>
        <p:spPr>
          <a:xfrm>
            <a:off x="2378677" y="1402081"/>
            <a:ext cx="2160986" cy="3152318"/>
          </a:xfrm>
          <a:prstGeom prst="roundRect">
            <a:avLst/>
          </a:prstGeom>
          <a:solidFill>
            <a:schemeClr val="lt1">
              <a:alpha val="9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 tIns="45720" rIns="18288" bIns="45720" numCol="1" spcCol="0" rtlCol="0" fromWordArt="0" anchor="t" anchorCtr="0" forceAA="0" compatLnSpc="1">
            <a:prstTxWarp prst="textNoShape">
              <a:avLst/>
            </a:prstTxWarp>
            <a:noAutofit/>
          </a:bodyPr>
          <a:lstStyle/>
          <a:p>
            <a:pPr algn="ctr"/>
            <a:r>
              <a:rPr lang="en-US" sz="2400" b="1" u="sng" dirty="0">
                <a:solidFill>
                  <a:schemeClr val="accent3"/>
                </a:solidFill>
              </a:rPr>
              <a:t>Understanding</a:t>
            </a:r>
          </a:p>
          <a:p>
            <a:pPr marL="114297" indent="-114297">
              <a:buFont typeface="Arial" panose="020B0604020202020204" pitchFamily="34" charset="0"/>
              <a:buChar char="•"/>
            </a:pPr>
            <a:r>
              <a:rPr lang="en-US" sz="2000" b="1" dirty="0">
                <a:solidFill>
                  <a:schemeClr val="accent3"/>
                </a:solidFill>
              </a:rPr>
              <a:t>Feature engineering</a:t>
            </a:r>
          </a:p>
          <a:p>
            <a:pPr marL="114297" indent="-114297">
              <a:buFont typeface="Arial" panose="020B0604020202020204" pitchFamily="34" charset="0"/>
              <a:buChar char="•"/>
            </a:pPr>
            <a:r>
              <a:rPr lang="en-US" sz="2000" b="1" i="1" dirty="0">
                <a:solidFill>
                  <a:schemeClr val="accent3"/>
                </a:solidFill>
              </a:rPr>
              <a:t>Unsupervised ML</a:t>
            </a:r>
            <a:endParaRPr lang="en-US" sz="800" b="1" i="1" dirty="0">
              <a:solidFill>
                <a:schemeClr val="accent3"/>
              </a:solidFill>
            </a:endParaRPr>
          </a:p>
          <a:p>
            <a:pPr marL="114297" indent="-114297">
              <a:buFont typeface="Arial" panose="020B0604020202020204" pitchFamily="34" charset="0"/>
              <a:buChar char="•"/>
            </a:pPr>
            <a:r>
              <a:rPr lang="en-US" sz="2000" b="1" dirty="0">
                <a:solidFill>
                  <a:schemeClr val="accent3"/>
                </a:solidFill>
              </a:rPr>
              <a:t>Labeling</a:t>
            </a:r>
            <a:endParaRPr lang="en-US" sz="1000" b="1" dirty="0">
              <a:solidFill>
                <a:schemeClr val="accent3"/>
              </a:solidFill>
            </a:endParaRPr>
          </a:p>
          <a:p>
            <a:pPr marL="114297" indent="-114297">
              <a:buFont typeface="Arial" panose="020B0604020202020204" pitchFamily="34" charset="0"/>
              <a:buChar char="•"/>
            </a:pPr>
            <a:r>
              <a:rPr lang="en-US" sz="2000" b="1" dirty="0">
                <a:solidFill>
                  <a:schemeClr val="accent3"/>
                </a:solidFill>
              </a:rPr>
              <a:t>Diagnostics</a:t>
            </a:r>
          </a:p>
        </p:txBody>
      </p:sp>
      <p:pic>
        <p:nvPicPr>
          <p:cNvPr id="75" name="Picture 74"/>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2604696" y="3885358"/>
            <a:ext cx="630148" cy="562023"/>
          </a:xfrm>
          <a:prstGeom prst="rect">
            <a:avLst/>
          </a:prstGeom>
          <a:effectLst>
            <a:outerShdw blurRad="50800" dist="38100" dir="2700000" algn="tl" rotWithShape="0">
              <a:prstClr val="black">
                <a:alpha val="40000"/>
              </a:prstClr>
            </a:outerShdw>
          </a:effectLst>
        </p:spPr>
      </p:pic>
      <p:pic>
        <p:nvPicPr>
          <p:cNvPr id="43" name="Picture 4" descr="Filter.png"/>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3861550" y="3779377"/>
            <a:ext cx="492950" cy="775022"/>
          </a:xfrm>
          <a:prstGeom prst="rect">
            <a:avLst/>
          </a:prstGeom>
          <a:noFill/>
          <a:ln w="9525">
            <a:noFill/>
            <a:miter lim="800000"/>
            <a:headEnd/>
            <a:tailEnd/>
          </a:ln>
        </p:spPr>
      </p:pic>
      <p:sp>
        <p:nvSpPr>
          <p:cNvPr id="68" name="Rectangle 67">
            <a:extLst>
              <a:ext uri="{FF2B5EF4-FFF2-40B4-BE49-F238E27FC236}">
                <a16:creationId xmlns:a16="http://schemas.microsoft.com/office/drawing/2014/main" xmlns="" id="{D4C5020D-A627-486E-B14A-0838D37FFA5A}"/>
              </a:ext>
            </a:extLst>
          </p:cNvPr>
          <p:cNvSpPr/>
          <p:nvPr/>
        </p:nvSpPr>
        <p:spPr>
          <a:xfrm>
            <a:off x="400055" y="2249724"/>
            <a:ext cx="1667215" cy="1315745"/>
          </a:xfrm>
          <a:prstGeom prst="rect">
            <a:avLst/>
          </a:prstGeom>
          <a:solidFill>
            <a:schemeClr val="bg1"/>
          </a:solidFill>
        </p:spPr>
        <p:txBody>
          <a:bodyPr wrap="square">
            <a:spAutoFit/>
          </a:bodyPr>
          <a:lstStyle/>
          <a:p>
            <a:pPr algn="ctr"/>
            <a:endParaRPr lang="en-US" sz="900" b="1" dirty="0">
              <a:solidFill>
                <a:srgbClr val="C00000"/>
              </a:solidFill>
              <a:latin typeface="Calibri Light" panose="020F0302020204030204" pitchFamily="34" charset="0"/>
              <a:cs typeface="Calibri Light" panose="020F0302020204030204" pitchFamily="34" charset="0"/>
            </a:endParaRPr>
          </a:p>
          <a:p>
            <a:pPr algn="ctr"/>
            <a:r>
              <a:rPr lang="en-US" sz="2000" b="1" dirty="0">
                <a:solidFill>
                  <a:srgbClr val="C00000"/>
                </a:solidFill>
                <a:latin typeface="Arial" panose="020B0604020202020204" pitchFamily="34" charset="0"/>
                <a:cs typeface="Arial" panose="020B0604020202020204" pitchFamily="34" charset="0"/>
              </a:rPr>
              <a:t>Chasing  phantom patterns</a:t>
            </a:r>
            <a:endParaRPr lang="en-GB" sz="1050" b="1" dirty="0">
              <a:solidFill>
                <a:srgbClr val="C00000"/>
              </a:solidFill>
              <a:latin typeface="Arial" panose="020B0604020202020204" pitchFamily="34" charset="0"/>
              <a:cs typeface="Arial" panose="020B0604020202020204" pitchFamily="34" charset="0"/>
            </a:endParaRPr>
          </a:p>
          <a:p>
            <a:pPr algn="ctr"/>
            <a:endParaRPr lang="en-US" sz="1050" b="1" dirty="0">
              <a:solidFill>
                <a:srgbClr val="C00000"/>
              </a:solidFill>
              <a:latin typeface="Calibri Light" panose="020F0302020204030204" pitchFamily="34" charset="0"/>
              <a:cs typeface="Calibri Light" panose="020F0302020204030204" pitchFamily="34" charset="0"/>
            </a:endParaRPr>
          </a:p>
        </p:txBody>
      </p:sp>
      <p:sp>
        <p:nvSpPr>
          <p:cNvPr id="66" name="Arrow: U-Turn 65">
            <a:extLst>
              <a:ext uri="{FF2B5EF4-FFF2-40B4-BE49-F238E27FC236}">
                <a16:creationId xmlns:a16="http://schemas.microsoft.com/office/drawing/2014/main" xmlns="" id="{79AD179F-F40A-4893-8F56-E9064633E731}"/>
              </a:ext>
            </a:extLst>
          </p:cNvPr>
          <p:cNvSpPr/>
          <p:nvPr/>
        </p:nvSpPr>
        <p:spPr>
          <a:xfrm rot="10800000">
            <a:off x="97536" y="2798222"/>
            <a:ext cx="2150499" cy="923158"/>
          </a:xfrm>
          <a:prstGeom prst="utur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accent1"/>
              </a:solidFill>
            </a:endParaRPr>
          </a:p>
        </p:txBody>
      </p:sp>
      <p:sp>
        <p:nvSpPr>
          <p:cNvPr id="65" name="Arrow: U-Turn 64">
            <a:extLst>
              <a:ext uri="{FF2B5EF4-FFF2-40B4-BE49-F238E27FC236}">
                <a16:creationId xmlns:a16="http://schemas.microsoft.com/office/drawing/2014/main" xmlns="" id="{57CB0DF7-2146-4B9D-B4A8-8F61D9C8DD65}"/>
              </a:ext>
            </a:extLst>
          </p:cNvPr>
          <p:cNvSpPr/>
          <p:nvPr/>
        </p:nvSpPr>
        <p:spPr>
          <a:xfrm>
            <a:off x="214231" y="2108411"/>
            <a:ext cx="2139278" cy="887498"/>
          </a:xfrm>
          <a:prstGeom prst="utur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accent1"/>
              </a:solidFill>
            </a:endParaRPr>
          </a:p>
        </p:txBody>
      </p:sp>
    </p:spTree>
    <p:extLst>
      <p:ext uri="{BB962C8B-B14F-4D97-AF65-F5344CB8AC3E}">
        <p14:creationId xmlns:p14="http://schemas.microsoft.com/office/powerpoint/2010/main" val="111241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3"/>
                                        </p:tgtEl>
                                        <p:attrNameLst>
                                          <p:attrName>style.visibility</p:attrName>
                                        </p:attrNameLst>
                                      </p:cBhvr>
                                      <p:to>
                                        <p:strVal val="visible"/>
                                      </p:to>
                                    </p:set>
                                    <p:animEffect transition="in" filter="fade">
                                      <p:cBhvr>
                                        <p:cTn id="18" dur="500"/>
                                        <p:tgtEl>
                                          <p:spTgt spid="7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par>
                                <p:cTn id="22" presetID="10" presetClass="entr" presetSubtype="0" fill="hold" nodeType="withEffect">
                                  <p:stCondLst>
                                    <p:cond delay="0"/>
                                  </p:stCondLst>
                                  <p:childTnLst>
                                    <p:set>
                                      <p:cBhvr>
                                        <p:cTn id="23" dur="1" fill="hold">
                                          <p:stCondLst>
                                            <p:cond delay="0"/>
                                          </p:stCondLst>
                                        </p:cTn>
                                        <p:tgtEl>
                                          <p:spTgt spid="75"/>
                                        </p:tgtEl>
                                        <p:attrNameLst>
                                          <p:attrName>style.visibility</p:attrName>
                                        </p:attrNameLst>
                                      </p:cBhvr>
                                      <p:to>
                                        <p:strVal val="visible"/>
                                      </p:to>
                                    </p:set>
                                    <p:animEffect transition="in" filter="fade">
                                      <p:cBhvr>
                                        <p:cTn id="24" dur="500"/>
                                        <p:tgtEl>
                                          <p:spTgt spid="75"/>
                                        </p:tgtEl>
                                      </p:cBhvr>
                                    </p:animEffect>
                                  </p:childTnLst>
                                </p:cTn>
                              </p:par>
                              <p:par>
                                <p:cTn id="25" presetID="10"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fade">
                                      <p:cBhvr>
                                        <p:cTn id="35" dur="500"/>
                                        <p:tgtEl>
                                          <p:spTgt spid="67"/>
                                        </p:tgtEl>
                                      </p:cBhvr>
                                    </p:animEffect>
                                  </p:childTnLst>
                                </p:cTn>
                              </p:par>
                              <p:par>
                                <p:cTn id="36" presetID="10" presetClass="entr" presetSubtype="0"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10" presetClass="entr" presetSubtype="0" fill="hold" nodeType="with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9"/>
                                        </p:tgtEl>
                                        <p:attrNameLst>
                                          <p:attrName>style.visibility</p:attrName>
                                        </p:attrNameLst>
                                      </p:cBhvr>
                                      <p:to>
                                        <p:strVal val="visible"/>
                                      </p:to>
                                    </p:set>
                                    <p:animEffect transition="in" filter="fade">
                                      <p:cBhvr>
                                        <p:cTn id="49" dur="500"/>
                                        <p:tgtEl>
                                          <p:spTgt spid="69"/>
                                        </p:tgtEl>
                                      </p:cBhvr>
                                    </p:animEffect>
                                  </p:childTnLst>
                                </p:cTn>
                              </p:par>
                              <p:par>
                                <p:cTn id="50" presetID="10" presetClass="entr" presetSubtype="0" fill="hold"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par>
                                <p:cTn id="53" presetID="10" presetClass="entr" presetSubtype="0" fill="hold"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67" grpId="0" animBg="1"/>
      <p:bldP spid="69" grpId="0" animBg="1"/>
      <p:bldP spid="73" grpId="0" animBg="1"/>
      <p:bldP spid="74" grpId="0" animBg="1"/>
      <p:bldP spid="68" grpId="0" animBg="1"/>
      <p:bldP spid="66" grpId="0" animBg="1"/>
      <p:bldP spid="6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2302"/>
            <a:ext cx="9028385" cy="541021"/>
          </a:xfrm>
        </p:spPr>
        <p:txBody>
          <a:bodyPr/>
          <a:lstStyle/>
          <a:p>
            <a:r>
              <a:rPr lang="en-US" sz="2400" b="1" u="sng" dirty="0"/>
              <a:t>Cyber Defense Economics</a:t>
            </a:r>
            <a:r>
              <a:rPr lang="en-US" sz="2400" b="1" dirty="0"/>
              <a:t>:  Optimizing Accessibility Versus Exposure</a:t>
            </a:r>
            <a:br>
              <a:rPr lang="en-US" sz="2400" b="1" dirty="0"/>
            </a:br>
            <a:r>
              <a:rPr lang="en-US" sz="1800" dirty="0">
                <a:solidFill>
                  <a:schemeClr val="accent2">
                    <a:lumMod val="75000"/>
                  </a:schemeClr>
                </a:solidFill>
              </a:rPr>
              <a:t>Invest to point of optimality</a:t>
            </a:r>
            <a:endParaRPr lang="en-US" sz="2400" b="1"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3190" y="725117"/>
            <a:ext cx="5873135" cy="3645693"/>
          </a:xfrm>
          <a:prstGeom prst="rect">
            <a:avLst/>
          </a:prstGeom>
        </p:spPr>
      </p:pic>
      <p:sp>
        <p:nvSpPr>
          <p:cNvPr id="6" name="Rectangle 5"/>
          <p:cNvSpPr/>
          <p:nvPr/>
        </p:nvSpPr>
        <p:spPr>
          <a:xfrm>
            <a:off x="1677779" y="4394902"/>
            <a:ext cx="5915024" cy="646331"/>
          </a:xfrm>
          <a:prstGeom prst="rect">
            <a:avLst/>
          </a:prstGeom>
        </p:spPr>
        <p:txBody>
          <a:bodyPr wrap="square">
            <a:spAutoFit/>
          </a:bodyPr>
          <a:lstStyle/>
          <a:p>
            <a:r>
              <a:rPr lang="en-US" sz="900" i="1" dirty="0"/>
              <a:t>SOURCE</a:t>
            </a:r>
          </a:p>
          <a:p>
            <a:r>
              <a:rPr lang="en-US" sz="900" dirty="0"/>
              <a:t>Partnering for Cyber Resilience: Towards the Quantification of Cyber Threats</a:t>
            </a:r>
          </a:p>
          <a:p>
            <a:r>
              <a:rPr lang="en-US" sz="900" dirty="0"/>
              <a:t>WEF report in collaboration with Deloitte:  </a:t>
            </a:r>
            <a:r>
              <a:rPr lang="en-US" sz="900" dirty="0">
                <a:hlinkClick r:id="rId3"/>
              </a:rPr>
              <a:t>http://www3.weforum.org/docs/WEFUSA_QuantificationofCyberThreats_Report2015.pdf</a:t>
            </a:r>
            <a:r>
              <a:rPr lang="en-US" sz="900" dirty="0"/>
              <a:t> </a:t>
            </a:r>
            <a:endParaRPr lang="nl-NL" sz="900" dirty="0"/>
          </a:p>
        </p:txBody>
      </p:sp>
      <p:sp>
        <p:nvSpPr>
          <p:cNvPr id="7" name="Slide Number Placeholder 3">
            <a:extLst>
              <a:ext uri="{FF2B5EF4-FFF2-40B4-BE49-F238E27FC236}">
                <a16:creationId xmlns:a16="http://schemas.microsoft.com/office/drawing/2014/main" xmlns="" id="{B6DA4740-EDD2-49A1-A4B3-D668F3CB92F3}"/>
              </a:ext>
            </a:extLst>
          </p:cNvPr>
          <p:cNvSpPr txBox="1">
            <a:spLocks/>
          </p:cNvSpPr>
          <p:nvPr/>
        </p:nvSpPr>
        <p:spPr>
          <a:xfrm>
            <a:off x="0" y="4730826"/>
            <a:ext cx="914400" cy="230832"/>
          </a:xfrm>
          <a:prstGeom prst="rect">
            <a:avLst/>
          </a:prstGeom>
        </p:spPr>
        <p:txBody>
          <a:bodyPr vert="horz" lIns="91440" tIns="45720" rIns="91440" bIns="45720" rtlCol="0" anchor="b">
            <a:spAutoFit/>
          </a:bodyPr>
          <a:lstStyle>
            <a:defPPr>
              <a:defRPr lang="en-US"/>
            </a:defPPr>
            <a:lvl1pPr marL="0" algn="ctr" defTabSz="182880" rtl="0" eaLnBrk="1" latinLnBrk="0" hangingPunct="1">
              <a:defRPr sz="9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76208B-6111-490B-8CEC-FFB249DB2100}" type="slidenum">
              <a:rPr lang="en-US" smtClean="0"/>
              <a:pPr/>
              <a:t>51</a:t>
            </a:fld>
            <a:endParaRPr lang="en-US" dirty="0"/>
          </a:p>
        </p:txBody>
      </p:sp>
    </p:spTree>
    <p:extLst>
      <p:ext uri="{BB962C8B-B14F-4D97-AF65-F5344CB8AC3E}">
        <p14:creationId xmlns:p14="http://schemas.microsoft.com/office/powerpoint/2010/main" val="12574520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9F2792-8BA2-4F2D-9C2C-B8B91AB82CD5}"/>
              </a:ext>
            </a:extLst>
          </p:cNvPr>
          <p:cNvSpPr>
            <a:spLocks noGrp="1"/>
          </p:cNvSpPr>
          <p:nvPr>
            <p:ph type="title"/>
          </p:nvPr>
        </p:nvSpPr>
        <p:spPr>
          <a:xfrm>
            <a:off x="626364" y="106963"/>
            <a:ext cx="7891272" cy="457200"/>
          </a:xfrm>
        </p:spPr>
        <p:txBody>
          <a:bodyPr/>
          <a:lstStyle/>
          <a:p>
            <a:r>
              <a:rPr lang="en-US" sz="2400" b="1" dirty="0"/>
              <a:t>The ‘Meta Picture’ for Technologists and Methodologists</a:t>
            </a:r>
          </a:p>
        </p:txBody>
      </p:sp>
      <p:sp>
        <p:nvSpPr>
          <p:cNvPr id="4" name="Content Placeholder 3">
            <a:extLst>
              <a:ext uri="{FF2B5EF4-FFF2-40B4-BE49-F238E27FC236}">
                <a16:creationId xmlns:a16="http://schemas.microsoft.com/office/drawing/2014/main" xmlns="" id="{00C12380-5250-4CE6-ADFD-DBA22ED0C61B}"/>
              </a:ext>
            </a:extLst>
          </p:cNvPr>
          <p:cNvSpPr>
            <a:spLocks noGrp="1"/>
          </p:cNvSpPr>
          <p:nvPr>
            <p:ph sz="quarter" idx="11"/>
          </p:nvPr>
        </p:nvSpPr>
        <p:spPr>
          <a:xfrm>
            <a:off x="273281" y="614160"/>
            <a:ext cx="4638962" cy="4418206"/>
          </a:xfrm>
        </p:spPr>
        <p:txBody>
          <a:bodyPr>
            <a:normAutofit fontScale="92500"/>
          </a:bodyPr>
          <a:lstStyle/>
          <a:p>
            <a:r>
              <a:rPr lang="en-US" b="1" dirty="0"/>
              <a:t>Cybersecurity</a:t>
            </a:r>
            <a:r>
              <a:rPr lang="en-US" dirty="0"/>
              <a:t>: hybrid techno-economic-behavioral context = many latent variables</a:t>
            </a:r>
          </a:p>
          <a:p>
            <a:r>
              <a:rPr lang="en-US" dirty="0"/>
              <a:t>Research methodology </a:t>
            </a:r>
          </a:p>
          <a:p>
            <a:pPr lvl="1"/>
            <a:r>
              <a:rPr lang="en-US" dirty="0"/>
              <a:t>Multivariate inferential statistics </a:t>
            </a:r>
          </a:p>
          <a:p>
            <a:pPr lvl="1"/>
            <a:r>
              <a:rPr lang="en-US" dirty="0"/>
              <a:t>Social science: grounded theory (inductive)</a:t>
            </a:r>
          </a:p>
          <a:p>
            <a:pPr lvl="1"/>
            <a:r>
              <a:rPr lang="en-US" dirty="0"/>
              <a:t>Cross-applicability to ‘core’ cybersecurity?</a:t>
            </a:r>
          </a:p>
          <a:p>
            <a:pPr lvl="1"/>
            <a:r>
              <a:rPr lang="en-US" dirty="0"/>
              <a:t>e.g. Increase in complex multi-domain models?</a:t>
            </a:r>
            <a:endParaRPr lang="en-US" sz="100" dirty="0"/>
          </a:p>
          <a:p>
            <a:r>
              <a:rPr lang="en-US" dirty="0"/>
              <a:t>Extrapolating &amp; validating patterns</a:t>
            </a:r>
          </a:p>
          <a:p>
            <a:pPr lvl="1"/>
            <a:r>
              <a:rPr lang="en-US" sz="1300" i="1" dirty="0"/>
              <a:t>Content analysis / text analytics</a:t>
            </a:r>
          </a:p>
          <a:p>
            <a:pPr lvl="1"/>
            <a:r>
              <a:rPr lang="en-US" sz="1300" i="1" dirty="0"/>
              <a:t>Cluster Analysis </a:t>
            </a:r>
          </a:p>
          <a:p>
            <a:pPr lvl="1"/>
            <a:r>
              <a:rPr lang="en-US" sz="1300" i="1" dirty="0"/>
              <a:t>Principal Component Analysis (PCA)</a:t>
            </a:r>
          </a:p>
          <a:p>
            <a:pPr lvl="1"/>
            <a:r>
              <a:rPr lang="en-US" sz="1300" i="1" dirty="0"/>
              <a:t>Discriminant Analysis</a:t>
            </a:r>
          </a:p>
          <a:p>
            <a:pPr lvl="1"/>
            <a:r>
              <a:rPr lang="en-US" sz="1300" i="1" dirty="0"/>
              <a:t>Factor Analysis* =&gt; latent factors </a:t>
            </a:r>
          </a:p>
          <a:p>
            <a:pPr lvl="1"/>
            <a:r>
              <a:rPr lang="en-US" sz="1300" i="1" dirty="0"/>
              <a:t>Correspondence Analysis</a:t>
            </a:r>
          </a:p>
          <a:p>
            <a:pPr lvl="1"/>
            <a:r>
              <a:rPr lang="en-US" sz="1300" i="1" dirty="0"/>
              <a:t>Structural equation modeling (SEM)</a:t>
            </a:r>
          </a:p>
        </p:txBody>
      </p:sp>
      <p:pic>
        <p:nvPicPr>
          <p:cNvPr id="2050" name="Picture 2" descr="Related image">
            <a:extLst>
              <a:ext uri="{FF2B5EF4-FFF2-40B4-BE49-F238E27FC236}">
                <a16:creationId xmlns:a16="http://schemas.microsoft.com/office/drawing/2014/main" xmlns="" id="{961EE1B3-C53E-422E-9F0D-9CB55822B125}"/>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p:blipFill>
        <p:spPr bwMode="auto">
          <a:xfrm>
            <a:off x="5056492" y="2152272"/>
            <a:ext cx="3813518" cy="27617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5" name="Content Placeholder 3">
            <a:extLst>
              <a:ext uri="{FF2B5EF4-FFF2-40B4-BE49-F238E27FC236}">
                <a16:creationId xmlns:a16="http://schemas.microsoft.com/office/drawing/2014/main" xmlns="" id="{A634F6EC-BDA1-46F2-812A-952C198E24C2}"/>
              </a:ext>
            </a:extLst>
          </p:cNvPr>
          <p:cNvSpPr txBox="1">
            <a:spLocks/>
          </p:cNvSpPr>
          <p:nvPr/>
        </p:nvSpPr>
        <p:spPr>
          <a:xfrm>
            <a:off x="4912243" y="574729"/>
            <a:ext cx="3813518" cy="1488115"/>
          </a:xfrm>
          <a:prstGeom prst="rect">
            <a:avLst/>
          </a:prstGeom>
        </p:spPr>
        <p:txBody>
          <a:bodyPr vert="horz" wrap="square" lIns="91440" tIns="45720" rIns="91440" bIns="45720" rtlCol="0" anchor="t" anchorCtr="0">
            <a:normAutofit/>
          </a:bodyPr>
          <a:lst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1600" b="1" dirty="0"/>
              <a:t>Extrapolating latent behavioral indicators</a:t>
            </a:r>
          </a:p>
          <a:p>
            <a:pPr lvl="1"/>
            <a:r>
              <a:rPr lang="en-US" sz="1400" dirty="0"/>
              <a:t>i.e. User IT ‘</a:t>
            </a:r>
            <a:r>
              <a:rPr lang="en-US" sz="1400" i="1" dirty="0"/>
              <a:t>technical sophistication</a:t>
            </a:r>
            <a:r>
              <a:rPr lang="en-US" sz="1400" dirty="0"/>
              <a:t>’ </a:t>
            </a:r>
          </a:p>
          <a:p>
            <a:pPr lvl="1"/>
            <a:r>
              <a:rPr lang="en-US" sz="1400" dirty="0"/>
              <a:t>‘</a:t>
            </a:r>
            <a:r>
              <a:rPr lang="en-US" sz="1400" i="1" dirty="0"/>
              <a:t>Organizational importance</a:t>
            </a:r>
            <a:r>
              <a:rPr lang="en-US" sz="1400" dirty="0"/>
              <a:t>’ of a device </a:t>
            </a:r>
          </a:p>
          <a:p>
            <a:pPr lvl="1"/>
            <a:r>
              <a:rPr lang="en-US" sz="1400" dirty="0"/>
              <a:t>‘</a:t>
            </a:r>
            <a:r>
              <a:rPr lang="en-US" sz="1400" i="1" dirty="0"/>
              <a:t>Adversarial determination</a:t>
            </a:r>
            <a:r>
              <a:rPr lang="en-US" sz="1400" dirty="0"/>
              <a:t>’</a:t>
            </a:r>
          </a:p>
          <a:p>
            <a:r>
              <a:rPr lang="en-US" sz="1600" b="1" dirty="0"/>
              <a:t>Validating theoretical models</a:t>
            </a:r>
          </a:p>
        </p:txBody>
      </p:sp>
    </p:spTree>
    <p:extLst>
      <p:ext uri="{BB962C8B-B14F-4D97-AF65-F5344CB8AC3E}">
        <p14:creationId xmlns:p14="http://schemas.microsoft.com/office/powerpoint/2010/main" val="22386182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8A0135-95ED-48D0-AC84-89E0535CBBE7}"/>
              </a:ext>
            </a:extLst>
          </p:cNvPr>
          <p:cNvSpPr>
            <a:spLocks noGrp="1"/>
          </p:cNvSpPr>
          <p:nvPr>
            <p:ph type="title"/>
          </p:nvPr>
        </p:nvSpPr>
        <p:spPr>
          <a:xfrm>
            <a:off x="626364" y="158968"/>
            <a:ext cx="7891272" cy="457200"/>
          </a:xfrm>
        </p:spPr>
        <p:txBody>
          <a:bodyPr/>
          <a:lstStyle/>
          <a:p>
            <a:r>
              <a:rPr lang="en-US" b="1" dirty="0"/>
              <a:t>Three Year Genesis of This Talk</a:t>
            </a:r>
          </a:p>
        </p:txBody>
      </p:sp>
      <p:sp>
        <p:nvSpPr>
          <p:cNvPr id="4" name="Content Placeholder 3">
            <a:extLst>
              <a:ext uri="{FF2B5EF4-FFF2-40B4-BE49-F238E27FC236}">
                <a16:creationId xmlns:a16="http://schemas.microsoft.com/office/drawing/2014/main" xmlns="" id="{2FDCEEF7-05FE-411E-BA60-343782280275}"/>
              </a:ext>
            </a:extLst>
          </p:cNvPr>
          <p:cNvSpPr>
            <a:spLocks noGrp="1"/>
          </p:cNvSpPr>
          <p:nvPr>
            <p:ph sz="quarter" idx="11"/>
          </p:nvPr>
        </p:nvSpPr>
        <p:spPr>
          <a:xfrm>
            <a:off x="569556" y="614580"/>
            <a:ext cx="7891272" cy="2686981"/>
          </a:xfrm>
        </p:spPr>
        <p:txBody>
          <a:bodyPr>
            <a:normAutofit/>
          </a:bodyPr>
          <a:lstStyle/>
          <a:p>
            <a:pPr marL="0" indent="0">
              <a:buNone/>
            </a:pPr>
            <a:r>
              <a:rPr lang="en-US" sz="2400" b="1" dirty="0" err="1">
                <a:solidFill>
                  <a:schemeClr val="bg1">
                    <a:lumMod val="75000"/>
                  </a:schemeClr>
                </a:solidFill>
              </a:rPr>
              <a:t>FloCon</a:t>
            </a:r>
            <a:r>
              <a:rPr lang="en-US" sz="2400" b="1" dirty="0">
                <a:solidFill>
                  <a:schemeClr val="bg1">
                    <a:lumMod val="75000"/>
                  </a:schemeClr>
                </a:solidFill>
              </a:rPr>
              <a:t> 2017 – San Diego</a:t>
            </a:r>
          </a:p>
          <a:p>
            <a:r>
              <a:rPr lang="en-US" sz="2400" dirty="0">
                <a:solidFill>
                  <a:schemeClr val="bg1">
                    <a:lumMod val="75000"/>
                  </a:schemeClr>
                </a:solidFill>
              </a:rPr>
              <a:t>Interest in data analytics percolates</a:t>
            </a:r>
          </a:p>
          <a:p>
            <a:r>
              <a:rPr lang="en-US" sz="2400" dirty="0">
                <a:solidFill>
                  <a:schemeClr val="bg1">
                    <a:lumMod val="75000"/>
                  </a:schemeClr>
                </a:solidFill>
              </a:rPr>
              <a:t>But… cautious: ‘</a:t>
            </a:r>
            <a:r>
              <a:rPr lang="en-US" sz="2400" i="1" dirty="0">
                <a:solidFill>
                  <a:schemeClr val="bg1">
                    <a:lumMod val="75000"/>
                  </a:schemeClr>
                </a:solidFill>
              </a:rPr>
              <a:t>I’ll know it when I see it</a:t>
            </a:r>
            <a:r>
              <a:rPr lang="en-US" sz="2400" dirty="0">
                <a:solidFill>
                  <a:schemeClr val="bg1">
                    <a:lumMod val="75000"/>
                  </a:schemeClr>
                </a:solidFill>
              </a:rPr>
              <a:t>’</a:t>
            </a:r>
          </a:p>
          <a:p>
            <a:endParaRPr lang="en-US" sz="100" dirty="0"/>
          </a:p>
          <a:p>
            <a:pPr marL="0" indent="0">
              <a:buNone/>
            </a:pPr>
            <a:r>
              <a:rPr lang="en-US" sz="2400" b="1" dirty="0" err="1"/>
              <a:t>FloCon</a:t>
            </a:r>
            <a:r>
              <a:rPr lang="en-US" sz="2400" b="1" dirty="0"/>
              <a:t> 2018 – Tucson </a:t>
            </a:r>
          </a:p>
          <a:p>
            <a:r>
              <a:rPr lang="en-US" sz="2400" dirty="0"/>
              <a:t>Spike in analytics and machine learning cases</a:t>
            </a:r>
          </a:p>
          <a:p>
            <a:r>
              <a:rPr lang="en-US" sz="2400" dirty="0"/>
              <a:t>But… questions emerge: ‘</a:t>
            </a:r>
            <a:r>
              <a:rPr lang="en-US" sz="2400" i="1" dirty="0"/>
              <a:t>How do we get from here to there?’</a:t>
            </a:r>
            <a:endParaRPr lang="en-US" sz="2400" dirty="0"/>
          </a:p>
          <a:p>
            <a:endParaRPr lang="en-US" sz="2400" dirty="0"/>
          </a:p>
        </p:txBody>
      </p:sp>
      <p:pic>
        <p:nvPicPr>
          <p:cNvPr id="3074" name="Picture 2" descr="Image result for tucson, az biodome">
            <a:extLst>
              <a:ext uri="{FF2B5EF4-FFF2-40B4-BE49-F238E27FC236}">
                <a16:creationId xmlns:a16="http://schemas.microsoft.com/office/drawing/2014/main" xmlns="" id="{26155E83-C495-4522-8979-A5513ABF4F7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07325" y="3257683"/>
            <a:ext cx="4456385" cy="1726849"/>
          </a:xfrm>
          <a:prstGeom prst="rect">
            <a:avLst/>
          </a:prstGeom>
          <a:noFill/>
          <a:ln>
            <a:solidFill>
              <a:schemeClr val="tx2"/>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C2E83E10-3F06-4069-AD75-32673362CFF3}"/>
              </a:ext>
            </a:extLst>
          </p:cNvPr>
          <p:cNvSpPr txBox="1"/>
          <p:nvPr/>
        </p:nvSpPr>
        <p:spPr>
          <a:xfrm>
            <a:off x="3489434" y="4958834"/>
            <a:ext cx="1912703" cy="184666"/>
          </a:xfrm>
          <a:prstGeom prst="rect">
            <a:avLst/>
          </a:prstGeom>
          <a:noFill/>
        </p:spPr>
        <p:txBody>
          <a:bodyPr wrap="none" rtlCol="0">
            <a:spAutoFit/>
          </a:bodyPr>
          <a:lstStyle/>
          <a:p>
            <a:r>
              <a:rPr lang="en-US" sz="600" dirty="0">
                <a:solidFill>
                  <a:schemeClr val="bg1">
                    <a:lumMod val="85000"/>
                  </a:schemeClr>
                </a:solidFill>
              </a:rPr>
              <a:t>Labeled for non-commercial reuse Wikipedia Commons</a:t>
            </a:r>
          </a:p>
        </p:txBody>
      </p:sp>
    </p:spTree>
    <p:extLst>
      <p:ext uri="{BB962C8B-B14F-4D97-AF65-F5344CB8AC3E}">
        <p14:creationId xmlns:p14="http://schemas.microsoft.com/office/powerpoint/2010/main" val="4575226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xmlns="" id="{A68DF075-5E8F-486F-AE44-787290FFD5A0}"/>
              </a:ext>
            </a:extLst>
          </p:cNvPr>
          <p:cNvPicPr>
            <a:picLocks noGrp="1" noChangeAspect="1"/>
          </p:cNvPicPr>
          <p:nvPr>
            <p:ph sz="quarter" idx="11"/>
          </p:nvPr>
        </p:nvPicPr>
        <p:blipFill>
          <a:blip r:embed="rId2" cstate="print">
            <a:extLst>
              <a:ext uri="{28A0092B-C50C-407E-A947-70E740481C1C}">
                <a14:useLocalDpi xmlns:a14="http://schemas.microsoft.com/office/drawing/2010/main" val="0"/>
              </a:ext>
            </a:extLst>
          </a:blip>
          <a:stretch>
            <a:fillRect/>
          </a:stretch>
        </p:blipFill>
        <p:spPr>
          <a:xfrm>
            <a:off x="757333" y="0"/>
            <a:ext cx="7027648" cy="5143500"/>
          </a:xfrm>
        </p:spPr>
      </p:pic>
      <p:pic>
        <p:nvPicPr>
          <p:cNvPr id="15" name="Content Placeholder 5">
            <a:extLst>
              <a:ext uri="{FF2B5EF4-FFF2-40B4-BE49-F238E27FC236}">
                <a16:creationId xmlns:a16="http://schemas.microsoft.com/office/drawing/2014/main" xmlns="" id="{94B1FCC2-C32C-4C82-BFB1-845C6A543E4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575049" y="2797140"/>
            <a:ext cx="335603" cy="274320"/>
          </a:xfrm>
          <a:prstGeom prst="rect">
            <a:avLst/>
          </a:prstGeom>
        </p:spPr>
      </p:pic>
      <p:pic>
        <p:nvPicPr>
          <p:cNvPr id="14" name="Content Placeholder 5">
            <a:extLst>
              <a:ext uri="{FF2B5EF4-FFF2-40B4-BE49-F238E27FC236}">
                <a16:creationId xmlns:a16="http://schemas.microsoft.com/office/drawing/2014/main" xmlns="" id="{643030FC-C46C-4E3C-9A24-803A80AAAD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641880" y="395287"/>
            <a:ext cx="1744383" cy="2552701"/>
          </a:xfrm>
          <a:prstGeom prst="rect">
            <a:avLst/>
          </a:prstGeom>
        </p:spPr>
      </p:pic>
      <p:sp>
        <p:nvSpPr>
          <p:cNvPr id="11" name="Freeform: Shape 10">
            <a:extLst>
              <a:ext uri="{FF2B5EF4-FFF2-40B4-BE49-F238E27FC236}">
                <a16:creationId xmlns:a16="http://schemas.microsoft.com/office/drawing/2014/main" xmlns="" id="{F313EE66-58F0-4A3F-BE8C-387262C21371}"/>
              </a:ext>
            </a:extLst>
          </p:cNvPr>
          <p:cNvSpPr/>
          <p:nvPr/>
        </p:nvSpPr>
        <p:spPr>
          <a:xfrm>
            <a:off x="2624446" y="574321"/>
            <a:ext cx="1483057" cy="2629348"/>
          </a:xfrm>
          <a:custGeom>
            <a:avLst/>
            <a:gdLst>
              <a:gd name="connsiteX0" fmla="*/ 165180 w 1263007"/>
              <a:gd name="connsiteY0" fmla="*/ 45243 h 2324100"/>
              <a:gd name="connsiteX1" fmla="*/ 165180 w 1263007"/>
              <a:gd name="connsiteY1" fmla="*/ 45243 h 2324100"/>
              <a:gd name="connsiteX2" fmla="*/ 177086 w 1263007"/>
              <a:gd name="connsiteY2" fmla="*/ 85725 h 2324100"/>
              <a:gd name="connsiteX3" fmla="*/ 181848 w 1263007"/>
              <a:gd name="connsiteY3" fmla="*/ 92868 h 2324100"/>
              <a:gd name="connsiteX4" fmla="*/ 186611 w 1263007"/>
              <a:gd name="connsiteY4" fmla="*/ 107156 h 2324100"/>
              <a:gd name="connsiteX5" fmla="*/ 188992 w 1263007"/>
              <a:gd name="connsiteY5" fmla="*/ 128587 h 2324100"/>
              <a:gd name="connsiteX6" fmla="*/ 191373 w 1263007"/>
              <a:gd name="connsiteY6" fmla="*/ 135731 h 2324100"/>
              <a:gd name="connsiteX7" fmla="*/ 193755 w 1263007"/>
              <a:gd name="connsiteY7" fmla="*/ 145256 h 2324100"/>
              <a:gd name="connsiteX8" fmla="*/ 203280 w 1263007"/>
              <a:gd name="connsiteY8" fmla="*/ 173831 h 2324100"/>
              <a:gd name="connsiteX9" fmla="*/ 210423 w 1263007"/>
              <a:gd name="connsiteY9" fmla="*/ 176212 h 2324100"/>
              <a:gd name="connsiteX10" fmla="*/ 231855 w 1263007"/>
              <a:gd name="connsiteY10" fmla="*/ 190500 h 2324100"/>
              <a:gd name="connsiteX11" fmla="*/ 238998 w 1263007"/>
              <a:gd name="connsiteY11" fmla="*/ 195262 h 2324100"/>
              <a:gd name="connsiteX12" fmla="*/ 243761 w 1263007"/>
              <a:gd name="connsiteY12" fmla="*/ 202406 h 2324100"/>
              <a:gd name="connsiteX13" fmla="*/ 250905 w 1263007"/>
              <a:gd name="connsiteY13" fmla="*/ 207168 h 2324100"/>
              <a:gd name="connsiteX14" fmla="*/ 260430 w 1263007"/>
              <a:gd name="connsiteY14" fmla="*/ 219075 h 2324100"/>
              <a:gd name="connsiteX15" fmla="*/ 272336 w 1263007"/>
              <a:gd name="connsiteY15" fmla="*/ 233362 h 2324100"/>
              <a:gd name="connsiteX16" fmla="*/ 279480 w 1263007"/>
              <a:gd name="connsiteY16" fmla="*/ 235743 h 2324100"/>
              <a:gd name="connsiteX17" fmla="*/ 293767 w 1263007"/>
              <a:gd name="connsiteY17" fmla="*/ 245268 h 2324100"/>
              <a:gd name="connsiteX18" fmla="*/ 300911 w 1263007"/>
              <a:gd name="connsiteY18" fmla="*/ 250031 h 2324100"/>
              <a:gd name="connsiteX19" fmla="*/ 315198 w 1263007"/>
              <a:gd name="connsiteY19" fmla="*/ 261937 h 2324100"/>
              <a:gd name="connsiteX20" fmla="*/ 327105 w 1263007"/>
              <a:gd name="connsiteY20" fmla="*/ 273843 h 2324100"/>
              <a:gd name="connsiteX21" fmla="*/ 339011 w 1263007"/>
              <a:gd name="connsiteY21" fmla="*/ 283368 h 2324100"/>
              <a:gd name="connsiteX22" fmla="*/ 353298 w 1263007"/>
              <a:gd name="connsiteY22" fmla="*/ 292893 h 2324100"/>
              <a:gd name="connsiteX23" fmla="*/ 367586 w 1263007"/>
              <a:gd name="connsiteY23" fmla="*/ 297656 h 2324100"/>
              <a:gd name="connsiteX24" fmla="*/ 374730 w 1263007"/>
              <a:gd name="connsiteY24" fmla="*/ 300037 h 2324100"/>
              <a:gd name="connsiteX25" fmla="*/ 384255 w 1263007"/>
              <a:gd name="connsiteY25" fmla="*/ 302418 h 2324100"/>
              <a:gd name="connsiteX26" fmla="*/ 391398 w 1263007"/>
              <a:gd name="connsiteY26" fmla="*/ 307181 h 2324100"/>
              <a:gd name="connsiteX27" fmla="*/ 398542 w 1263007"/>
              <a:gd name="connsiteY27" fmla="*/ 333375 h 2324100"/>
              <a:gd name="connsiteX28" fmla="*/ 412830 w 1263007"/>
              <a:gd name="connsiteY28" fmla="*/ 338137 h 2324100"/>
              <a:gd name="connsiteX29" fmla="*/ 419973 w 1263007"/>
              <a:gd name="connsiteY29" fmla="*/ 340518 h 2324100"/>
              <a:gd name="connsiteX30" fmla="*/ 434261 w 1263007"/>
              <a:gd name="connsiteY30" fmla="*/ 350043 h 2324100"/>
              <a:gd name="connsiteX31" fmla="*/ 446167 w 1263007"/>
              <a:gd name="connsiteY31" fmla="*/ 359568 h 2324100"/>
              <a:gd name="connsiteX32" fmla="*/ 453311 w 1263007"/>
              <a:gd name="connsiteY32" fmla="*/ 364331 h 2324100"/>
              <a:gd name="connsiteX33" fmla="*/ 460455 w 1263007"/>
              <a:gd name="connsiteY33" fmla="*/ 366712 h 2324100"/>
              <a:gd name="connsiteX34" fmla="*/ 474742 w 1263007"/>
              <a:gd name="connsiteY34" fmla="*/ 376237 h 2324100"/>
              <a:gd name="connsiteX35" fmla="*/ 489030 w 1263007"/>
              <a:gd name="connsiteY35" fmla="*/ 381000 h 2324100"/>
              <a:gd name="connsiteX36" fmla="*/ 510461 w 1263007"/>
              <a:gd name="connsiteY36" fmla="*/ 390525 h 2324100"/>
              <a:gd name="connsiteX37" fmla="*/ 531892 w 1263007"/>
              <a:gd name="connsiteY37" fmla="*/ 397668 h 2324100"/>
              <a:gd name="connsiteX38" fmla="*/ 539036 w 1263007"/>
              <a:gd name="connsiteY38" fmla="*/ 400050 h 2324100"/>
              <a:gd name="connsiteX39" fmla="*/ 546180 w 1263007"/>
              <a:gd name="connsiteY39" fmla="*/ 402431 h 2324100"/>
              <a:gd name="connsiteX40" fmla="*/ 567611 w 1263007"/>
              <a:gd name="connsiteY40" fmla="*/ 416718 h 2324100"/>
              <a:gd name="connsiteX41" fmla="*/ 574755 w 1263007"/>
              <a:gd name="connsiteY41" fmla="*/ 421481 h 2324100"/>
              <a:gd name="connsiteX42" fmla="*/ 577136 w 1263007"/>
              <a:gd name="connsiteY42" fmla="*/ 431006 h 2324100"/>
              <a:gd name="connsiteX43" fmla="*/ 581898 w 1263007"/>
              <a:gd name="connsiteY43" fmla="*/ 438150 h 2324100"/>
              <a:gd name="connsiteX44" fmla="*/ 589042 w 1263007"/>
              <a:gd name="connsiteY44" fmla="*/ 440531 h 2324100"/>
              <a:gd name="connsiteX45" fmla="*/ 605711 w 1263007"/>
              <a:gd name="connsiteY45" fmla="*/ 442912 h 2324100"/>
              <a:gd name="connsiteX46" fmla="*/ 624761 w 1263007"/>
              <a:gd name="connsiteY46" fmla="*/ 454818 h 2324100"/>
              <a:gd name="connsiteX47" fmla="*/ 627142 w 1263007"/>
              <a:gd name="connsiteY47" fmla="*/ 461962 h 2324100"/>
              <a:gd name="connsiteX48" fmla="*/ 641430 w 1263007"/>
              <a:gd name="connsiteY48" fmla="*/ 466725 h 2324100"/>
              <a:gd name="connsiteX49" fmla="*/ 650955 w 1263007"/>
              <a:gd name="connsiteY49" fmla="*/ 447675 h 2324100"/>
              <a:gd name="connsiteX50" fmla="*/ 658098 w 1263007"/>
              <a:gd name="connsiteY50" fmla="*/ 416718 h 2324100"/>
              <a:gd name="connsiteX51" fmla="*/ 662861 w 1263007"/>
              <a:gd name="connsiteY51" fmla="*/ 402431 h 2324100"/>
              <a:gd name="connsiteX52" fmla="*/ 665242 w 1263007"/>
              <a:gd name="connsiteY52" fmla="*/ 395287 h 2324100"/>
              <a:gd name="connsiteX53" fmla="*/ 672386 w 1263007"/>
              <a:gd name="connsiteY53" fmla="*/ 390525 h 2324100"/>
              <a:gd name="connsiteX54" fmla="*/ 689055 w 1263007"/>
              <a:gd name="connsiteY54" fmla="*/ 378618 h 2324100"/>
              <a:gd name="connsiteX55" fmla="*/ 696198 w 1263007"/>
              <a:gd name="connsiteY55" fmla="*/ 376237 h 2324100"/>
              <a:gd name="connsiteX56" fmla="*/ 700961 w 1263007"/>
              <a:gd name="connsiteY56" fmla="*/ 369093 h 2324100"/>
              <a:gd name="connsiteX57" fmla="*/ 705723 w 1263007"/>
              <a:gd name="connsiteY57" fmla="*/ 354806 h 2324100"/>
              <a:gd name="connsiteX58" fmla="*/ 715248 w 1263007"/>
              <a:gd name="connsiteY58" fmla="*/ 340518 h 2324100"/>
              <a:gd name="connsiteX59" fmla="*/ 720011 w 1263007"/>
              <a:gd name="connsiteY59" fmla="*/ 333375 h 2324100"/>
              <a:gd name="connsiteX60" fmla="*/ 734298 w 1263007"/>
              <a:gd name="connsiteY60" fmla="*/ 326231 h 2324100"/>
              <a:gd name="connsiteX61" fmla="*/ 741442 w 1263007"/>
              <a:gd name="connsiteY61" fmla="*/ 323850 h 2324100"/>
              <a:gd name="connsiteX62" fmla="*/ 762873 w 1263007"/>
              <a:gd name="connsiteY62" fmla="*/ 314325 h 2324100"/>
              <a:gd name="connsiteX63" fmla="*/ 777161 w 1263007"/>
              <a:gd name="connsiteY63" fmla="*/ 309562 h 2324100"/>
              <a:gd name="connsiteX64" fmla="*/ 805736 w 1263007"/>
              <a:gd name="connsiteY64" fmla="*/ 304800 h 2324100"/>
              <a:gd name="connsiteX65" fmla="*/ 831930 w 1263007"/>
              <a:gd name="connsiteY65" fmla="*/ 307181 h 2324100"/>
              <a:gd name="connsiteX66" fmla="*/ 839073 w 1263007"/>
              <a:gd name="connsiteY66" fmla="*/ 309562 h 2324100"/>
              <a:gd name="connsiteX67" fmla="*/ 848598 w 1263007"/>
              <a:gd name="connsiteY67" fmla="*/ 323850 h 2324100"/>
              <a:gd name="connsiteX68" fmla="*/ 855742 w 1263007"/>
              <a:gd name="connsiteY68" fmla="*/ 328612 h 2324100"/>
              <a:gd name="connsiteX69" fmla="*/ 870030 w 1263007"/>
              <a:gd name="connsiteY69" fmla="*/ 333375 h 2324100"/>
              <a:gd name="connsiteX70" fmla="*/ 879555 w 1263007"/>
              <a:gd name="connsiteY70" fmla="*/ 347662 h 2324100"/>
              <a:gd name="connsiteX71" fmla="*/ 889080 w 1263007"/>
              <a:gd name="connsiteY71" fmla="*/ 361950 h 2324100"/>
              <a:gd name="connsiteX72" fmla="*/ 898605 w 1263007"/>
              <a:gd name="connsiteY72" fmla="*/ 383381 h 2324100"/>
              <a:gd name="connsiteX73" fmla="*/ 905748 w 1263007"/>
              <a:gd name="connsiteY73" fmla="*/ 404812 h 2324100"/>
              <a:gd name="connsiteX74" fmla="*/ 908130 w 1263007"/>
              <a:gd name="connsiteY74" fmla="*/ 411956 h 2324100"/>
              <a:gd name="connsiteX75" fmla="*/ 912892 w 1263007"/>
              <a:gd name="connsiteY75" fmla="*/ 419100 h 2324100"/>
              <a:gd name="connsiteX76" fmla="*/ 917655 w 1263007"/>
              <a:gd name="connsiteY76" fmla="*/ 433387 h 2324100"/>
              <a:gd name="connsiteX77" fmla="*/ 927180 w 1263007"/>
              <a:gd name="connsiteY77" fmla="*/ 447675 h 2324100"/>
              <a:gd name="connsiteX78" fmla="*/ 934323 w 1263007"/>
              <a:gd name="connsiteY78" fmla="*/ 471487 h 2324100"/>
              <a:gd name="connsiteX79" fmla="*/ 936705 w 1263007"/>
              <a:gd name="connsiteY79" fmla="*/ 542925 h 2324100"/>
              <a:gd name="connsiteX80" fmla="*/ 943848 w 1263007"/>
              <a:gd name="connsiteY80" fmla="*/ 545306 h 2324100"/>
              <a:gd name="connsiteX81" fmla="*/ 953373 w 1263007"/>
              <a:gd name="connsiteY81" fmla="*/ 547687 h 2324100"/>
              <a:gd name="connsiteX82" fmla="*/ 984330 w 1263007"/>
              <a:gd name="connsiteY82" fmla="*/ 545306 h 2324100"/>
              <a:gd name="connsiteX83" fmla="*/ 986711 w 1263007"/>
              <a:gd name="connsiteY83" fmla="*/ 538162 h 2324100"/>
              <a:gd name="connsiteX84" fmla="*/ 989092 w 1263007"/>
              <a:gd name="connsiteY84" fmla="*/ 528637 h 2324100"/>
              <a:gd name="connsiteX85" fmla="*/ 998617 w 1263007"/>
              <a:gd name="connsiteY85" fmla="*/ 514350 h 2324100"/>
              <a:gd name="connsiteX86" fmla="*/ 1003380 w 1263007"/>
              <a:gd name="connsiteY86" fmla="*/ 507206 h 2324100"/>
              <a:gd name="connsiteX87" fmla="*/ 1005761 w 1263007"/>
              <a:gd name="connsiteY87" fmla="*/ 500062 h 2324100"/>
              <a:gd name="connsiteX88" fmla="*/ 1012905 w 1263007"/>
              <a:gd name="connsiteY88" fmla="*/ 497681 h 2324100"/>
              <a:gd name="connsiteX89" fmla="*/ 1031955 w 1263007"/>
              <a:gd name="connsiteY89" fmla="*/ 492918 h 2324100"/>
              <a:gd name="connsiteX90" fmla="*/ 1039098 w 1263007"/>
              <a:gd name="connsiteY90" fmla="*/ 478631 h 2324100"/>
              <a:gd name="connsiteX91" fmla="*/ 1046242 w 1263007"/>
              <a:gd name="connsiteY91" fmla="*/ 473868 h 2324100"/>
              <a:gd name="connsiteX92" fmla="*/ 1062911 w 1263007"/>
              <a:gd name="connsiteY92" fmla="*/ 457200 h 2324100"/>
              <a:gd name="connsiteX93" fmla="*/ 1072436 w 1263007"/>
              <a:gd name="connsiteY93" fmla="*/ 440531 h 2324100"/>
              <a:gd name="connsiteX94" fmla="*/ 1077198 w 1263007"/>
              <a:gd name="connsiteY94" fmla="*/ 426243 h 2324100"/>
              <a:gd name="connsiteX95" fmla="*/ 1098630 w 1263007"/>
              <a:gd name="connsiteY95" fmla="*/ 414337 h 2324100"/>
              <a:gd name="connsiteX96" fmla="*/ 1110536 w 1263007"/>
              <a:gd name="connsiteY96" fmla="*/ 392906 h 2324100"/>
              <a:gd name="connsiteX97" fmla="*/ 1112917 w 1263007"/>
              <a:gd name="connsiteY97" fmla="*/ 385762 h 2324100"/>
              <a:gd name="connsiteX98" fmla="*/ 1115298 w 1263007"/>
              <a:gd name="connsiteY98" fmla="*/ 378618 h 2324100"/>
              <a:gd name="connsiteX99" fmla="*/ 1110536 w 1263007"/>
              <a:gd name="connsiteY99" fmla="*/ 328612 h 2324100"/>
              <a:gd name="connsiteX100" fmla="*/ 1105773 w 1263007"/>
              <a:gd name="connsiteY100" fmla="*/ 314325 h 2324100"/>
              <a:gd name="connsiteX101" fmla="*/ 1098630 w 1263007"/>
              <a:gd name="connsiteY101" fmla="*/ 300037 h 2324100"/>
              <a:gd name="connsiteX102" fmla="*/ 1093867 w 1263007"/>
              <a:gd name="connsiteY102" fmla="*/ 285750 h 2324100"/>
              <a:gd name="connsiteX103" fmla="*/ 1096248 w 1263007"/>
              <a:gd name="connsiteY103" fmla="*/ 264318 h 2324100"/>
              <a:gd name="connsiteX104" fmla="*/ 1115298 w 1263007"/>
              <a:gd name="connsiteY104" fmla="*/ 266700 h 2324100"/>
              <a:gd name="connsiteX105" fmla="*/ 1131967 w 1263007"/>
              <a:gd name="connsiteY105" fmla="*/ 271462 h 2324100"/>
              <a:gd name="connsiteX106" fmla="*/ 1146255 w 1263007"/>
              <a:gd name="connsiteY106" fmla="*/ 278606 h 2324100"/>
              <a:gd name="connsiteX107" fmla="*/ 1153398 w 1263007"/>
              <a:gd name="connsiteY107" fmla="*/ 283368 h 2324100"/>
              <a:gd name="connsiteX108" fmla="*/ 1167686 w 1263007"/>
              <a:gd name="connsiteY108" fmla="*/ 288131 h 2324100"/>
              <a:gd name="connsiteX109" fmla="*/ 1174830 w 1263007"/>
              <a:gd name="connsiteY109" fmla="*/ 292893 h 2324100"/>
              <a:gd name="connsiteX110" fmla="*/ 1189117 w 1263007"/>
              <a:gd name="connsiteY110" fmla="*/ 297656 h 2324100"/>
              <a:gd name="connsiteX111" fmla="*/ 1196261 w 1263007"/>
              <a:gd name="connsiteY111" fmla="*/ 300037 h 2324100"/>
              <a:gd name="connsiteX112" fmla="*/ 1201023 w 1263007"/>
              <a:gd name="connsiteY112" fmla="*/ 307181 h 2324100"/>
              <a:gd name="connsiteX113" fmla="*/ 1215311 w 1263007"/>
              <a:gd name="connsiteY113" fmla="*/ 311943 h 2324100"/>
              <a:gd name="connsiteX114" fmla="*/ 1224836 w 1263007"/>
              <a:gd name="connsiteY114" fmla="*/ 326231 h 2324100"/>
              <a:gd name="connsiteX115" fmla="*/ 1229598 w 1263007"/>
              <a:gd name="connsiteY115" fmla="*/ 333375 h 2324100"/>
              <a:gd name="connsiteX116" fmla="*/ 1236742 w 1263007"/>
              <a:gd name="connsiteY116" fmla="*/ 338137 h 2324100"/>
              <a:gd name="connsiteX117" fmla="*/ 1246267 w 1263007"/>
              <a:gd name="connsiteY117" fmla="*/ 352425 h 2324100"/>
              <a:gd name="connsiteX118" fmla="*/ 1251030 w 1263007"/>
              <a:gd name="connsiteY118" fmla="*/ 359568 h 2324100"/>
              <a:gd name="connsiteX119" fmla="*/ 1253411 w 1263007"/>
              <a:gd name="connsiteY119" fmla="*/ 366712 h 2324100"/>
              <a:gd name="connsiteX120" fmla="*/ 1262936 w 1263007"/>
              <a:gd name="connsiteY120" fmla="*/ 381000 h 2324100"/>
              <a:gd name="connsiteX121" fmla="*/ 1260555 w 1263007"/>
              <a:gd name="connsiteY121" fmla="*/ 407193 h 2324100"/>
              <a:gd name="connsiteX122" fmla="*/ 1246267 w 1263007"/>
              <a:gd name="connsiteY122" fmla="*/ 411956 h 2324100"/>
              <a:gd name="connsiteX123" fmla="*/ 1241505 w 1263007"/>
              <a:gd name="connsiteY123" fmla="*/ 419100 h 2324100"/>
              <a:gd name="connsiteX124" fmla="*/ 1234361 w 1263007"/>
              <a:gd name="connsiteY124" fmla="*/ 440531 h 2324100"/>
              <a:gd name="connsiteX125" fmla="*/ 1220073 w 1263007"/>
              <a:gd name="connsiteY125" fmla="*/ 445293 h 2324100"/>
              <a:gd name="connsiteX126" fmla="*/ 1205786 w 1263007"/>
              <a:gd name="connsiteY126" fmla="*/ 454818 h 2324100"/>
              <a:gd name="connsiteX127" fmla="*/ 1198642 w 1263007"/>
              <a:gd name="connsiteY127" fmla="*/ 459581 h 2324100"/>
              <a:gd name="connsiteX128" fmla="*/ 1191498 w 1263007"/>
              <a:gd name="connsiteY128" fmla="*/ 481012 h 2324100"/>
              <a:gd name="connsiteX129" fmla="*/ 1189117 w 1263007"/>
              <a:gd name="connsiteY129" fmla="*/ 488156 h 2324100"/>
              <a:gd name="connsiteX130" fmla="*/ 1186736 w 1263007"/>
              <a:gd name="connsiteY130" fmla="*/ 495300 h 2324100"/>
              <a:gd name="connsiteX131" fmla="*/ 1179592 w 1263007"/>
              <a:gd name="connsiteY131" fmla="*/ 540543 h 2324100"/>
              <a:gd name="connsiteX132" fmla="*/ 1177211 w 1263007"/>
              <a:gd name="connsiteY132" fmla="*/ 547687 h 2324100"/>
              <a:gd name="connsiteX133" fmla="*/ 1172448 w 1263007"/>
              <a:gd name="connsiteY133" fmla="*/ 554831 h 2324100"/>
              <a:gd name="connsiteX134" fmla="*/ 1158161 w 1263007"/>
              <a:gd name="connsiteY134" fmla="*/ 569118 h 2324100"/>
              <a:gd name="connsiteX135" fmla="*/ 1151017 w 1263007"/>
              <a:gd name="connsiteY135" fmla="*/ 583406 h 2324100"/>
              <a:gd name="connsiteX136" fmla="*/ 1146255 w 1263007"/>
              <a:gd name="connsiteY136" fmla="*/ 597693 h 2324100"/>
              <a:gd name="connsiteX137" fmla="*/ 1139111 w 1263007"/>
              <a:gd name="connsiteY137" fmla="*/ 602456 h 2324100"/>
              <a:gd name="connsiteX138" fmla="*/ 1124823 w 1263007"/>
              <a:gd name="connsiteY138" fmla="*/ 607218 h 2324100"/>
              <a:gd name="connsiteX139" fmla="*/ 1120061 w 1263007"/>
              <a:gd name="connsiteY139" fmla="*/ 614362 h 2324100"/>
              <a:gd name="connsiteX140" fmla="*/ 1105773 w 1263007"/>
              <a:gd name="connsiteY140" fmla="*/ 626268 h 2324100"/>
              <a:gd name="connsiteX141" fmla="*/ 1098630 w 1263007"/>
              <a:gd name="connsiteY141" fmla="*/ 628650 h 2324100"/>
              <a:gd name="connsiteX142" fmla="*/ 1086723 w 1263007"/>
              <a:gd name="connsiteY142" fmla="*/ 650081 h 2324100"/>
              <a:gd name="connsiteX143" fmla="*/ 1079580 w 1263007"/>
              <a:gd name="connsiteY143" fmla="*/ 652462 h 2324100"/>
              <a:gd name="connsiteX144" fmla="*/ 1067673 w 1263007"/>
              <a:gd name="connsiteY144" fmla="*/ 664368 h 2324100"/>
              <a:gd name="connsiteX145" fmla="*/ 1062911 w 1263007"/>
              <a:gd name="connsiteY145" fmla="*/ 671512 h 2324100"/>
              <a:gd name="connsiteX146" fmla="*/ 1048623 w 1263007"/>
              <a:gd name="connsiteY146" fmla="*/ 683418 h 2324100"/>
              <a:gd name="connsiteX147" fmla="*/ 1036717 w 1263007"/>
              <a:gd name="connsiteY147" fmla="*/ 702468 h 2324100"/>
              <a:gd name="connsiteX148" fmla="*/ 1031955 w 1263007"/>
              <a:gd name="connsiteY148" fmla="*/ 716756 h 2324100"/>
              <a:gd name="connsiteX149" fmla="*/ 1041480 w 1263007"/>
              <a:gd name="connsiteY149" fmla="*/ 738187 h 2324100"/>
              <a:gd name="connsiteX150" fmla="*/ 1046242 w 1263007"/>
              <a:gd name="connsiteY150" fmla="*/ 764381 h 2324100"/>
              <a:gd name="connsiteX151" fmla="*/ 1048623 w 1263007"/>
              <a:gd name="connsiteY151" fmla="*/ 835818 h 2324100"/>
              <a:gd name="connsiteX152" fmla="*/ 1051005 w 1263007"/>
              <a:gd name="connsiteY152" fmla="*/ 845343 h 2324100"/>
              <a:gd name="connsiteX153" fmla="*/ 1058148 w 1263007"/>
              <a:gd name="connsiteY153" fmla="*/ 871537 h 2324100"/>
              <a:gd name="connsiteX154" fmla="*/ 1060530 w 1263007"/>
              <a:gd name="connsiteY154" fmla="*/ 878681 h 2324100"/>
              <a:gd name="connsiteX155" fmla="*/ 1062911 w 1263007"/>
              <a:gd name="connsiteY155" fmla="*/ 885825 h 2324100"/>
              <a:gd name="connsiteX156" fmla="*/ 1065292 w 1263007"/>
              <a:gd name="connsiteY156" fmla="*/ 912018 h 2324100"/>
              <a:gd name="connsiteX157" fmla="*/ 1067673 w 1263007"/>
              <a:gd name="connsiteY157" fmla="*/ 928687 h 2324100"/>
              <a:gd name="connsiteX158" fmla="*/ 1065292 w 1263007"/>
              <a:gd name="connsiteY158" fmla="*/ 1028700 h 2324100"/>
              <a:gd name="connsiteX159" fmla="*/ 1062911 w 1263007"/>
              <a:gd name="connsiteY159" fmla="*/ 1038225 h 2324100"/>
              <a:gd name="connsiteX160" fmla="*/ 1060530 w 1263007"/>
              <a:gd name="connsiteY160" fmla="*/ 1050131 h 2324100"/>
              <a:gd name="connsiteX161" fmla="*/ 1055767 w 1263007"/>
              <a:gd name="connsiteY161" fmla="*/ 1150143 h 2324100"/>
              <a:gd name="connsiteX162" fmla="*/ 1053386 w 1263007"/>
              <a:gd name="connsiteY162" fmla="*/ 1159668 h 2324100"/>
              <a:gd name="connsiteX163" fmla="*/ 1048623 w 1263007"/>
              <a:gd name="connsiteY163" fmla="*/ 1197768 h 2324100"/>
              <a:gd name="connsiteX164" fmla="*/ 1043861 w 1263007"/>
              <a:gd name="connsiteY164" fmla="*/ 1212056 h 2324100"/>
              <a:gd name="connsiteX165" fmla="*/ 1041480 w 1263007"/>
              <a:gd name="connsiteY165" fmla="*/ 1219200 h 2324100"/>
              <a:gd name="connsiteX166" fmla="*/ 1043861 w 1263007"/>
              <a:gd name="connsiteY166" fmla="*/ 1259681 h 2324100"/>
              <a:gd name="connsiteX167" fmla="*/ 1055767 w 1263007"/>
              <a:gd name="connsiteY167" fmla="*/ 1281112 h 2324100"/>
              <a:gd name="connsiteX168" fmla="*/ 1060530 w 1263007"/>
              <a:gd name="connsiteY168" fmla="*/ 1297781 h 2324100"/>
              <a:gd name="connsiteX169" fmla="*/ 1067673 w 1263007"/>
              <a:gd name="connsiteY169" fmla="*/ 1326356 h 2324100"/>
              <a:gd name="connsiteX170" fmla="*/ 1070055 w 1263007"/>
              <a:gd name="connsiteY170" fmla="*/ 1333500 h 2324100"/>
              <a:gd name="connsiteX171" fmla="*/ 1065292 w 1263007"/>
              <a:gd name="connsiteY171" fmla="*/ 1364456 h 2324100"/>
              <a:gd name="connsiteX172" fmla="*/ 1060530 w 1263007"/>
              <a:gd name="connsiteY172" fmla="*/ 1371600 h 2324100"/>
              <a:gd name="connsiteX173" fmla="*/ 1055767 w 1263007"/>
              <a:gd name="connsiteY173" fmla="*/ 1385887 h 2324100"/>
              <a:gd name="connsiteX174" fmla="*/ 1051005 w 1263007"/>
              <a:gd name="connsiteY174" fmla="*/ 1393031 h 2324100"/>
              <a:gd name="connsiteX175" fmla="*/ 1046242 w 1263007"/>
              <a:gd name="connsiteY175" fmla="*/ 1407318 h 2324100"/>
              <a:gd name="connsiteX176" fmla="*/ 1048623 w 1263007"/>
              <a:gd name="connsiteY176" fmla="*/ 1459706 h 2324100"/>
              <a:gd name="connsiteX177" fmla="*/ 1053386 w 1263007"/>
              <a:gd name="connsiteY177" fmla="*/ 1473993 h 2324100"/>
              <a:gd name="connsiteX178" fmla="*/ 1055767 w 1263007"/>
              <a:gd name="connsiteY178" fmla="*/ 1481137 h 2324100"/>
              <a:gd name="connsiteX179" fmla="*/ 1053386 w 1263007"/>
              <a:gd name="connsiteY179" fmla="*/ 1533525 h 2324100"/>
              <a:gd name="connsiteX180" fmla="*/ 1048623 w 1263007"/>
              <a:gd name="connsiteY180" fmla="*/ 1569243 h 2324100"/>
              <a:gd name="connsiteX181" fmla="*/ 1043861 w 1263007"/>
              <a:gd name="connsiteY181" fmla="*/ 1590675 h 2324100"/>
              <a:gd name="connsiteX182" fmla="*/ 1041480 w 1263007"/>
              <a:gd name="connsiteY182" fmla="*/ 1604962 h 2324100"/>
              <a:gd name="connsiteX183" fmla="*/ 1039098 w 1263007"/>
              <a:gd name="connsiteY183" fmla="*/ 1652587 h 2324100"/>
              <a:gd name="connsiteX184" fmla="*/ 1036717 w 1263007"/>
              <a:gd name="connsiteY184" fmla="*/ 1662112 h 2324100"/>
              <a:gd name="connsiteX185" fmla="*/ 1034336 w 1263007"/>
              <a:gd name="connsiteY185" fmla="*/ 1669256 h 2324100"/>
              <a:gd name="connsiteX186" fmla="*/ 1022430 w 1263007"/>
              <a:gd name="connsiteY186" fmla="*/ 1671637 h 2324100"/>
              <a:gd name="connsiteX187" fmla="*/ 1015286 w 1263007"/>
              <a:gd name="connsiteY187" fmla="*/ 1674018 h 2324100"/>
              <a:gd name="connsiteX188" fmla="*/ 1008142 w 1263007"/>
              <a:gd name="connsiteY188" fmla="*/ 1678781 h 2324100"/>
              <a:gd name="connsiteX189" fmla="*/ 998617 w 1263007"/>
              <a:gd name="connsiteY189" fmla="*/ 1700212 h 2324100"/>
              <a:gd name="connsiteX190" fmla="*/ 996236 w 1263007"/>
              <a:gd name="connsiteY190" fmla="*/ 1709737 h 2324100"/>
              <a:gd name="connsiteX191" fmla="*/ 993855 w 1263007"/>
              <a:gd name="connsiteY191" fmla="*/ 1726406 h 2324100"/>
              <a:gd name="connsiteX192" fmla="*/ 989092 w 1263007"/>
              <a:gd name="connsiteY192" fmla="*/ 1740693 h 2324100"/>
              <a:gd name="connsiteX193" fmla="*/ 981948 w 1263007"/>
              <a:gd name="connsiteY193" fmla="*/ 1769268 h 2324100"/>
              <a:gd name="connsiteX194" fmla="*/ 979567 w 1263007"/>
              <a:gd name="connsiteY194" fmla="*/ 1776412 h 2324100"/>
              <a:gd name="connsiteX195" fmla="*/ 977186 w 1263007"/>
              <a:gd name="connsiteY195" fmla="*/ 1833562 h 2324100"/>
              <a:gd name="connsiteX196" fmla="*/ 972423 w 1263007"/>
              <a:gd name="connsiteY196" fmla="*/ 1859756 h 2324100"/>
              <a:gd name="connsiteX197" fmla="*/ 967661 w 1263007"/>
              <a:gd name="connsiteY197" fmla="*/ 1885950 h 2324100"/>
              <a:gd name="connsiteX198" fmla="*/ 965280 w 1263007"/>
              <a:gd name="connsiteY198" fmla="*/ 1893093 h 2324100"/>
              <a:gd name="connsiteX199" fmla="*/ 960517 w 1263007"/>
              <a:gd name="connsiteY199" fmla="*/ 1919287 h 2324100"/>
              <a:gd name="connsiteX200" fmla="*/ 958136 w 1263007"/>
              <a:gd name="connsiteY200" fmla="*/ 1926431 h 2324100"/>
              <a:gd name="connsiteX201" fmla="*/ 950992 w 1263007"/>
              <a:gd name="connsiteY201" fmla="*/ 1966912 h 2324100"/>
              <a:gd name="connsiteX202" fmla="*/ 946230 w 1263007"/>
              <a:gd name="connsiteY202" fmla="*/ 1981200 h 2324100"/>
              <a:gd name="connsiteX203" fmla="*/ 943848 w 1263007"/>
              <a:gd name="connsiteY203" fmla="*/ 1988343 h 2324100"/>
              <a:gd name="connsiteX204" fmla="*/ 939086 w 1263007"/>
              <a:gd name="connsiteY204" fmla="*/ 2005012 h 2324100"/>
              <a:gd name="connsiteX205" fmla="*/ 936705 w 1263007"/>
              <a:gd name="connsiteY205" fmla="*/ 2014537 h 2324100"/>
              <a:gd name="connsiteX206" fmla="*/ 931942 w 1263007"/>
              <a:gd name="connsiteY206" fmla="*/ 2028825 h 2324100"/>
              <a:gd name="connsiteX207" fmla="*/ 929561 w 1263007"/>
              <a:gd name="connsiteY207" fmla="*/ 2035968 h 2324100"/>
              <a:gd name="connsiteX208" fmla="*/ 927180 w 1263007"/>
              <a:gd name="connsiteY208" fmla="*/ 2045493 h 2324100"/>
              <a:gd name="connsiteX209" fmla="*/ 931942 w 1263007"/>
              <a:gd name="connsiteY209" fmla="*/ 2105025 h 2324100"/>
              <a:gd name="connsiteX210" fmla="*/ 936705 w 1263007"/>
              <a:gd name="connsiteY210" fmla="*/ 2119312 h 2324100"/>
              <a:gd name="connsiteX211" fmla="*/ 941467 w 1263007"/>
              <a:gd name="connsiteY211" fmla="*/ 2138362 h 2324100"/>
              <a:gd name="connsiteX212" fmla="*/ 943848 w 1263007"/>
              <a:gd name="connsiteY212" fmla="*/ 2183606 h 2324100"/>
              <a:gd name="connsiteX213" fmla="*/ 946230 w 1263007"/>
              <a:gd name="connsiteY213" fmla="*/ 2193131 h 2324100"/>
              <a:gd name="connsiteX214" fmla="*/ 950992 w 1263007"/>
              <a:gd name="connsiteY214" fmla="*/ 2207418 h 2324100"/>
              <a:gd name="connsiteX215" fmla="*/ 953373 w 1263007"/>
              <a:gd name="connsiteY215" fmla="*/ 2221706 h 2324100"/>
              <a:gd name="connsiteX216" fmla="*/ 955755 w 1263007"/>
              <a:gd name="connsiteY216" fmla="*/ 2238375 h 2324100"/>
              <a:gd name="connsiteX217" fmla="*/ 958136 w 1263007"/>
              <a:gd name="connsiteY217" fmla="*/ 2245518 h 2324100"/>
              <a:gd name="connsiteX218" fmla="*/ 960517 w 1263007"/>
              <a:gd name="connsiteY218" fmla="*/ 2262187 h 2324100"/>
              <a:gd name="connsiteX219" fmla="*/ 965280 w 1263007"/>
              <a:gd name="connsiteY219" fmla="*/ 2276475 h 2324100"/>
              <a:gd name="connsiteX220" fmla="*/ 958136 w 1263007"/>
              <a:gd name="connsiteY220" fmla="*/ 2316956 h 2324100"/>
              <a:gd name="connsiteX221" fmla="*/ 950992 w 1263007"/>
              <a:gd name="connsiteY221" fmla="*/ 2321718 h 2324100"/>
              <a:gd name="connsiteX222" fmla="*/ 931942 w 1263007"/>
              <a:gd name="connsiteY222" fmla="*/ 2324100 h 2324100"/>
              <a:gd name="connsiteX223" fmla="*/ 884317 w 1263007"/>
              <a:gd name="connsiteY223" fmla="*/ 2321718 h 2324100"/>
              <a:gd name="connsiteX224" fmla="*/ 877173 w 1263007"/>
              <a:gd name="connsiteY224" fmla="*/ 2319337 h 2324100"/>
              <a:gd name="connsiteX225" fmla="*/ 870030 w 1263007"/>
              <a:gd name="connsiteY225" fmla="*/ 2314575 h 2324100"/>
              <a:gd name="connsiteX226" fmla="*/ 865267 w 1263007"/>
              <a:gd name="connsiteY226" fmla="*/ 2307431 h 2324100"/>
              <a:gd name="connsiteX227" fmla="*/ 858123 w 1263007"/>
              <a:gd name="connsiteY227" fmla="*/ 2302668 h 2324100"/>
              <a:gd name="connsiteX228" fmla="*/ 855742 w 1263007"/>
              <a:gd name="connsiteY228" fmla="*/ 2295525 h 2324100"/>
              <a:gd name="connsiteX229" fmla="*/ 850980 w 1263007"/>
              <a:gd name="connsiteY229" fmla="*/ 2274093 h 2324100"/>
              <a:gd name="connsiteX230" fmla="*/ 846217 w 1263007"/>
              <a:gd name="connsiteY230" fmla="*/ 2266950 h 2324100"/>
              <a:gd name="connsiteX231" fmla="*/ 841455 w 1263007"/>
              <a:gd name="connsiteY231" fmla="*/ 2252662 h 2324100"/>
              <a:gd name="connsiteX232" fmla="*/ 836692 w 1263007"/>
              <a:gd name="connsiteY232" fmla="*/ 2233612 h 2324100"/>
              <a:gd name="connsiteX233" fmla="*/ 831930 w 1263007"/>
              <a:gd name="connsiteY233" fmla="*/ 2219325 h 2324100"/>
              <a:gd name="connsiteX234" fmla="*/ 829548 w 1263007"/>
              <a:gd name="connsiteY234" fmla="*/ 2212181 h 2324100"/>
              <a:gd name="connsiteX235" fmla="*/ 820023 w 1263007"/>
              <a:gd name="connsiteY235" fmla="*/ 2190750 h 2324100"/>
              <a:gd name="connsiteX236" fmla="*/ 817642 w 1263007"/>
              <a:gd name="connsiteY236" fmla="*/ 2181225 h 2324100"/>
              <a:gd name="connsiteX237" fmla="*/ 815261 w 1263007"/>
              <a:gd name="connsiteY237" fmla="*/ 2166937 h 2324100"/>
              <a:gd name="connsiteX238" fmla="*/ 812880 w 1263007"/>
              <a:gd name="connsiteY238" fmla="*/ 2159793 h 2324100"/>
              <a:gd name="connsiteX239" fmla="*/ 798592 w 1263007"/>
              <a:gd name="connsiteY239" fmla="*/ 2150268 h 2324100"/>
              <a:gd name="connsiteX240" fmla="*/ 791448 w 1263007"/>
              <a:gd name="connsiteY240" fmla="*/ 2145506 h 2324100"/>
              <a:gd name="connsiteX241" fmla="*/ 779542 w 1263007"/>
              <a:gd name="connsiteY241" fmla="*/ 2131218 h 2324100"/>
              <a:gd name="connsiteX242" fmla="*/ 770017 w 1263007"/>
              <a:gd name="connsiteY242" fmla="*/ 2116931 h 2324100"/>
              <a:gd name="connsiteX243" fmla="*/ 758111 w 1263007"/>
              <a:gd name="connsiteY243" fmla="*/ 2105025 h 2324100"/>
              <a:gd name="connsiteX244" fmla="*/ 748586 w 1263007"/>
              <a:gd name="connsiteY244" fmla="*/ 2090737 h 2324100"/>
              <a:gd name="connsiteX245" fmla="*/ 743823 w 1263007"/>
              <a:gd name="connsiteY245" fmla="*/ 2076450 h 2324100"/>
              <a:gd name="connsiteX246" fmla="*/ 746205 w 1263007"/>
              <a:gd name="connsiteY246" fmla="*/ 2035968 h 2324100"/>
              <a:gd name="connsiteX247" fmla="*/ 770017 w 1263007"/>
              <a:gd name="connsiteY247" fmla="*/ 2028825 h 2324100"/>
              <a:gd name="connsiteX248" fmla="*/ 789067 w 1263007"/>
              <a:gd name="connsiteY248" fmla="*/ 2012156 h 2324100"/>
              <a:gd name="connsiteX249" fmla="*/ 793830 w 1263007"/>
              <a:gd name="connsiteY249" fmla="*/ 1997868 h 2324100"/>
              <a:gd name="connsiteX250" fmla="*/ 803355 w 1263007"/>
              <a:gd name="connsiteY250" fmla="*/ 1983581 h 2324100"/>
              <a:gd name="connsiteX251" fmla="*/ 805736 w 1263007"/>
              <a:gd name="connsiteY251" fmla="*/ 1976437 h 2324100"/>
              <a:gd name="connsiteX252" fmla="*/ 805736 w 1263007"/>
              <a:gd name="connsiteY252" fmla="*/ 1883568 h 2324100"/>
              <a:gd name="connsiteX253" fmla="*/ 803355 w 1263007"/>
              <a:gd name="connsiteY253" fmla="*/ 1876425 h 2324100"/>
              <a:gd name="connsiteX254" fmla="*/ 798592 w 1263007"/>
              <a:gd name="connsiteY254" fmla="*/ 1852612 h 2324100"/>
              <a:gd name="connsiteX255" fmla="*/ 803355 w 1263007"/>
              <a:gd name="connsiteY255" fmla="*/ 1764506 h 2324100"/>
              <a:gd name="connsiteX256" fmla="*/ 805736 w 1263007"/>
              <a:gd name="connsiteY256" fmla="*/ 1752600 h 2324100"/>
              <a:gd name="connsiteX257" fmla="*/ 810498 w 1263007"/>
              <a:gd name="connsiteY257" fmla="*/ 1719262 h 2324100"/>
              <a:gd name="connsiteX258" fmla="*/ 808117 w 1263007"/>
              <a:gd name="connsiteY258" fmla="*/ 1690687 h 2324100"/>
              <a:gd name="connsiteX259" fmla="*/ 800973 w 1263007"/>
              <a:gd name="connsiteY259" fmla="*/ 1685925 h 2324100"/>
              <a:gd name="connsiteX260" fmla="*/ 786686 w 1263007"/>
              <a:gd name="connsiteY260" fmla="*/ 1681162 h 2324100"/>
              <a:gd name="connsiteX261" fmla="*/ 777161 w 1263007"/>
              <a:gd name="connsiteY261" fmla="*/ 1666875 h 2324100"/>
              <a:gd name="connsiteX262" fmla="*/ 772398 w 1263007"/>
              <a:gd name="connsiteY262" fmla="*/ 1631156 h 2324100"/>
              <a:gd name="connsiteX263" fmla="*/ 765255 w 1263007"/>
              <a:gd name="connsiteY263" fmla="*/ 1616868 h 2324100"/>
              <a:gd name="connsiteX264" fmla="*/ 762873 w 1263007"/>
              <a:gd name="connsiteY264" fmla="*/ 1609725 h 2324100"/>
              <a:gd name="connsiteX265" fmla="*/ 765255 w 1263007"/>
              <a:gd name="connsiteY265" fmla="*/ 1600200 h 2324100"/>
              <a:gd name="connsiteX266" fmla="*/ 767636 w 1263007"/>
              <a:gd name="connsiteY266" fmla="*/ 1593056 h 2324100"/>
              <a:gd name="connsiteX267" fmla="*/ 772398 w 1263007"/>
              <a:gd name="connsiteY267" fmla="*/ 1538287 h 2324100"/>
              <a:gd name="connsiteX268" fmla="*/ 777161 w 1263007"/>
              <a:gd name="connsiteY268" fmla="*/ 1524000 h 2324100"/>
              <a:gd name="connsiteX269" fmla="*/ 779542 w 1263007"/>
              <a:gd name="connsiteY269" fmla="*/ 1516856 h 2324100"/>
              <a:gd name="connsiteX270" fmla="*/ 781923 w 1263007"/>
              <a:gd name="connsiteY270" fmla="*/ 1490662 h 2324100"/>
              <a:gd name="connsiteX271" fmla="*/ 779542 w 1263007"/>
              <a:gd name="connsiteY271" fmla="*/ 1500187 h 2324100"/>
              <a:gd name="connsiteX272" fmla="*/ 774780 w 1263007"/>
              <a:gd name="connsiteY272" fmla="*/ 1507331 h 2324100"/>
              <a:gd name="connsiteX273" fmla="*/ 772398 w 1263007"/>
              <a:gd name="connsiteY273" fmla="*/ 1514475 h 2324100"/>
              <a:gd name="connsiteX274" fmla="*/ 758111 w 1263007"/>
              <a:gd name="connsiteY274" fmla="*/ 1524000 h 2324100"/>
              <a:gd name="connsiteX275" fmla="*/ 750967 w 1263007"/>
              <a:gd name="connsiteY275" fmla="*/ 1531143 h 2324100"/>
              <a:gd name="connsiteX276" fmla="*/ 736680 w 1263007"/>
              <a:gd name="connsiteY276" fmla="*/ 1540668 h 2324100"/>
              <a:gd name="connsiteX277" fmla="*/ 731917 w 1263007"/>
              <a:gd name="connsiteY277" fmla="*/ 1547812 h 2324100"/>
              <a:gd name="connsiteX278" fmla="*/ 717630 w 1263007"/>
              <a:gd name="connsiteY278" fmla="*/ 1554956 h 2324100"/>
              <a:gd name="connsiteX279" fmla="*/ 710486 w 1263007"/>
              <a:gd name="connsiteY279" fmla="*/ 1562100 h 2324100"/>
              <a:gd name="connsiteX280" fmla="*/ 696198 w 1263007"/>
              <a:gd name="connsiteY280" fmla="*/ 1571625 h 2324100"/>
              <a:gd name="connsiteX281" fmla="*/ 684292 w 1263007"/>
              <a:gd name="connsiteY281" fmla="*/ 1581150 h 2324100"/>
              <a:gd name="connsiteX282" fmla="*/ 670005 w 1263007"/>
              <a:gd name="connsiteY282" fmla="*/ 1590675 h 2324100"/>
              <a:gd name="connsiteX283" fmla="*/ 662861 w 1263007"/>
              <a:gd name="connsiteY283" fmla="*/ 1595437 h 2324100"/>
              <a:gd name="connsiteX284" fmla="*/ 655717 w 1263007"/>
              <a:gd name="connsiteY284" fmla="*/ 1602581 h 2324100"/>
              <a:gd name="connsiteX285" fmla="*/ 650955 w 1263007"/>
              <a:gd name="connsiteY285" fmla="*/ 1616868 h 2324100"/>
              <a:gd name="connsiteX286" fmla="*/ 643811 w 1263007"/>
              <a:gd name="connsiteY286" fmla="*/ 1631156 h 2324100"/>
              <a:gd name="connsiteX287" fmla="*/ 636667 w 1263007"/>
              <a:gd name="connsiteY287" fmla="*/ 1638300 h 2324100"/>
              <a:gd name="connsiteX288" fmla="*/ 627142 w 1263007"/>
              <a:gd name="connsiteY288" fmla="*/ 1640681 h 2324100"/>
              <a:gd name="connsiteX289" fmla="*/ 622380 w 1263007"/>
              <a:gd name="connsiteY289" fmla="*/ 1647825 h 2324100"/>
              <a:gd name="connsiteX290" fmla="*/ 608092 w 1263007"/>
              <a:gd name="connsiteY290" fmla="*/ 1652587 h 2324100"/>
              <a:gd name="connsiteX291" fmla="*/ 593805 w 1263007"/>
              <a:gd name="connsiteY291" fmla="*/ 1664493 h 2324100"/>
              <a:gd name="connsiteX292" fmla="*/ 579517 w 1263007"/>
              <a:gd name="connsiteY292" fmla="*/ 1676400 h 2324100"/>
              <a:gd name="connsiteX293" fmla="*/ 574755 w 1263007"/>
              <a:gd name="connsiteY293" fmla="*/ 1683543 h 2324100"/>
              <a:gd name="connsiteX294" fmla="*/ 565230 w 1263007"/>
              <a:gd name="connsiteY294" fmla="*/ 1688306 h 2324100"/>
              <a:gd name="connsiteX295" fmla="*/ 550942 w 1263007"/>
              <a:gd name="connsiteY295" fmla="*/ 1697831 h 2324100"/>
              <a:gd name="connsiteX296" fmla="*/ 543798 w 1263007"/>
              <a:gd name="connsiteY296" fmla="*/ 1702593 h 2324100"/>
              <a:gd name="connsiteX297" fmla="*/ 536655 w 1263007"/>
              <a:gd name="connsiteY297" fmla="*/ 1704975 h 2324100"/>
              <a:gd name="connsiteX298" fmla="*/ 529511 w 1263007"/>
              <a:gd name="connsiteY298" fmla="*/ 1712118 h 2324100"/>
              <a:gd name="connsiteX299" fmla="*/ 519986 w 1263007"/>
              <a:gd name="connsiteY299" fmla="*/ 1716881 h 2324100"/>
              <a:gd name="connsiteX300" fmla="*/ 508080 w 1263007"/>
              <a:gd name="connsiteY300" fmla="*/ 1726406 h 2324100"/>
              <a:gd name="connsiteX301" fmla="*/ 484267 w 1263007"/>
              <a:gd name="connsiteY301" fmla="*/ 1762125 h 2324100"/>
              <a:gd name="connsiteX302" fmla="*/ 479505 w 1263007"/>
              <a:gd name="connsiteY302" fmla="*/ 1769268 h 2324100"/>
              <a:gd name="connsiteX303" fmla="*/ 474742 w 1263007"/>
              <a:gd name="connsiteY303" fmla="*/ 1778793 h 2324100"/>
              <a:gd name="connsiteX304" fmla="*/ 460455 w 1263007"/>
              <a:gd name="connsiteY304" fmla="*/ 1790700 h 2324100"/>
              <a:gd name="connsiteX305" fmla="*/ 443786 w 1263007"/>
              <a:gd name="connsiteY305" fmla="*/ 1807368 h 2324100"/>
              <a:gd name="connsiteX306" fmla="*/ 429498 w 1263007"/>
              <a:gd name="connsiteY306" fmla="*/ 1816893 h 2324100"/>
              <a:gd name="connsiteX307" fmla="*/ 412830 w 1263007"/>
              <a:gd name="connsiteY307" fmla="*/ 1821656 h 2324100"/>
              <a:gd name="connsiteX308" fmla="*/ 391398 w 1263007"/>
              <a:gd name="connsiteY308" fmla="*/ 1838325 h 2324100"/>
              <a:gd name="connsiteX309" fmla="*/ 381873 w 1263007"/>
              <a:gd name="connsiteY309" fmla="*/ 1852612 h 2324100"/>
              <a:gd name="connsiteX310" fmla="*/ 377111 w 1263007"/>
              <a:gd name="connsiteY310" fmla="*/ 1859756 h 2324100"/>
              <a:gd name="connsiteX311" fmla="*/ 369967 w 1263007"/>
              <a:gd name="connsiteY311" fmla="*/ 1862137 h 2324100"/>
              <a:gd name="connsiteX312" fmla="*/ 365205 w 1263007"/>
              <a:gd name="connsiteY312" fmla="*/ 1869281 h 2324100"/>
              <a:gd name="connsiteX313" fmla="*/ 350917 w 1263007"/>
              <a:gd name="connsiteY313" fmla="*/ 1878806 h 2324100"/>
              <a:gd name="connsiteX314" fmla="*/ 343773 w 1263007"/>
              <a:gd name="connsiteY314" fmla="*/ 1883568 h 2324100"/>
              <a:gd name="connsiteX315" fmla="*/ 329486 w 1263007"/>
              <a:gd name="connsiteY315" fmla="*/ 1897856 h 2324100"/>
              <a:gd name="connsiteX316" fmla="*/ 317580 w 1263007"/>
              <a:gd name="connsiteY316" fmla="*/ 1912143 h 2324100"/>
              <a:gd name="connsiteX317" fmla="*/ 315198 w 1263007"/>
              <a:gd name="connsiteY317" fmla="*/ 1919287 h 2324100"/>
              <a:gd name="connsiteX318" fmla="*/ 305673 w 1263007"/>
              <a:gd name="connsiteY318" fmla="*/ 1933575 h 2324100"/>
              <a:gd name="connsiteX319" fmla="*/ 303292 w 1263007"/>
              <a:gd name="connsiteY319" fmla="*/ 1940718 h 2324100"/>
              <a:gd name="connsiteX320" fmla="*/ 300911 w 1263007"/>
              <a:gd name="connsiteY320" fmla="*/ 1950243 h 2324100"/>
              <a:gd name="connsiteX321" fmla="*/ 296148 w 1263007"/>
              <a:gd name="connsiteY321" fmla="*/ 1959768 h 2324100"/>
              <a:gd name="connsiteX322" fmla="*/ 293767 w 1263007"/>
              <a:gd name="connsiteY322" fmla="*/ 1966912 h 2324100"/>
              <a:gd name="connsiteX323" fmla="*/ 289005 w 1263007"/>
              <a:gd name="connsiteY323" fmla="*/ 1974056 h 2324100"/>
              <a:gd name="connsiteX324" fmla="*/ 286623 w 1263007"/>
              <a:gd name="connsiteY324" fmla="*/ 1981200 h 2324100"/>
              <a:gd name="connsiteX325" fmla="*/ 277098 w 1263007"/>
              <a:gd name="connsiteY325" fmla="*/ 1995487 h 2324100"/>
              <a:gd name="connsiteX326" fmla="*/ 269955 w 1263007"/>
              <a:gd name="connsiteY326" fmla="*/ 2009775 h 2324100"/>
              <a:gd name="connsiteX327" fmla="*/ 267573 w 1263007"/>
              <a:gd name="connsiteY327" fmla="*/ 2016918 h 2324100"/>
              <a:gd name="connsiteX328" fmla="*/ 258048 w 1263007"/>
              <a:gd name="connsiteY328" fmla="*/ 2031206 h 2324100"/>
              <a:gd name="connsiteX329" fmla="*/ 248523 w 1263007"/>
              <a:gd name="connsiteY329" fmla="*/ 2059781 h 2324100"/>
              <a:gd name="connsiteX330" fmla="*/ 246142 w 1263007"/>
              <a:gd name="connsiteY330" fmla="*/ 2066925 h 2324100"/>
              <a:gd name="connsiteX331" fmla="*/ 241380 w 1263007"/>
              <a:gd name="connsiteY331" fmla="*/ 2074068 h 2324100"/>
              <a:gd name="connsiteX332" fmla="*/ 234236 w 1263007"/>
              <a:gd name="connsiteY332" fmla="*/ 2088356 h 2324100"/>
              <a:gd name="connsiteX333" fmla="*/ 229473 w 1263007"/>
              <a:gd name="connsiteY333" fmla="*/ 2105025 h 2324100"/>
              <a:gd name="connsiteX334" fmla="*/ 224711 w 1263007"/>
              <a:gd name="connsiteY334" fmla="*/ 2112168 h 2324100"/>
              <a:gd name="connsiteX335" fmla="*/ 219948 w 1263007"/>
              <a:gd name="connsiteY335" fmla="*/ 2126456 h 2324100"/>
              <a:gd name="connsiteX336" fmla="*/ 215186 w 1263007"/>
              <a:gd name="connsiteY336" fmla="*/ 2150268 h 2324100"/>
              <a:gd name="connsiteX337" fmla="*/ 210423 w 1263007"/>
              <a:gd name="connsiteY337" fmla="*/ 2164556 h 2324100"/>
              <a:gd name="connsiteX338" fmla="*/ 200898 w 1263007"/>
              <a:gd name="connsiteY338" fmla="*/ 2178843 h 2324100"/>
              <a:gd name="connsiteX339" fmla="*/ 186611 w 1263007"/>
              <a:gd name="connsiteY339" fmla="*/ 2183606 h 2324100"/>
              <a:gd name="connsiteX340" fmla="*/ 165180 w 1263007"/>
              <a:gd name="connsiteY340" fmla="*/ 2195512 h 2324100"/>
              <a:gd name="connsiteX341" fmla="*/ 122317 w 1263007"/>
              <a:gd name="connsiteY341" fmla="*/ 2193131 h 2324100"/>
              <a:gd name="connsiteX342" fmla="*/ 115173 w 1263007"/>
              <a:gd name="connsiteY342" fmla="*/ 2190750 h 2324100"/>
              <a:gd name="connsiteX343" fmla="*/ 105648 w 1263007"/>
              <a:gd name="connsiteY343" fmla="*/ 2188368 h 2324100"/>
              <a:gd name="connsiteX344" fmla="*/ 98505 w 1263007"/>
              <a:gd name="connsiteY344" fmla="*/ 2183606 h 2324100"/>
              <a:gd name="connsiteX345" fmla="*/ 93742 w 1263007"/>
              <a:gd name="connsiteY345" fmla="*/ 2169318 h 2324100"/>
              <a:gd name="connsiteX346" fmla="*/ 88980 w 1263007"/>
              <a:gd name="connsiteY346" fmla="*/ 2124075 h 2324100"/>
              <a:gd name="connsiteX347" fmla="*/ 91361 w 1263007"/>
              <a:gd name="connsiteY347" fmla="*/ 2026443 h 2324100"/>
              <a:gd name="connsiteX348" fmla="*/ 98505 w 1263007"/>
              <a:gd name="connsiteY348" fmla="*/ 2002631 h 2324100"/>
              <a:gd name="connsiteX349" fmla="*/ 105648 w 1263007"/>
              <a:gd name="connsiteY349" fmla="*/ 2000250 h 2324100"/>
              <a:gd name="connsiteX350" fmla="*/ 112792 w 1263007"/>
              <a:gd name="connsiteY350" fmla="*/ 1993106 h 2324100"/>
              <a:gd name="connsiteX351" fmla="*/ 115173 w 1263007"/>
              <a:gd name="connsiteY351" fmla="*/ 1985962 h 2324100"/>
              <a:gd name="connsiteX352" fmla="*/ 122317 w 1263007"/>
              <a:gd name="connsiteY352" fmla="*/ 1981200 h 2324100"/>
              <a:gd name="connsiteX353" fmla="*/ 124698 w 1263007"/>
              <a:gd name="connsiteY353" fmla="*/ 1974056 h 2324100"/>
              <a:gd name="connsiteX354" fmla="*/ 131842 w 1263007"/>
              <a:gd name="connsiteY354" fmla="*/ 1969293 h 2324100"/>
              <a:gd name="connsiteX355" fmla="*/ 138986 w 1263007"/>
              <a:gd name="connsiteY355" fmla="*/ 1962150 h 2324100"/>
              <a:gd name="connsiteX356" fmla="*/ 148511 w 1263007"/>
              <a:gd name="connsiteY356" fmla="*/ 1945481 h 2324100"/>
              <a:gd name="connsiteX357" fmla="*/ 153273 w 1263007"/>
              <a:gd name="connsiteY357" fmla="*/ 1928812 h 2324100"/>
              <a:gd name="connsiteX358" fmla="*/ 158036 w 1263007"/>
              <a:gd name="connsiteY358" fmla="*/ 1921668 h 2324100"/>
              <a:gd name="connsiteX359" fmla="*/ 162798 w 1263007"/>
              <a:gd name="connsiteY359" fmla="*/ 1912143 h 2324100"/>
              <a:gd name="connsiteX360" fmla="*/ 165180 w 1263007"/>
              <a:gd name="connsiteY360" fmla="*/ 1905000 h 2324100"/>
              <a:gd name="connsiteX361" fmla="*/ 174705 w 1263007"/>
              <a:gd name="connsiteY361" fmla="*/ 1890712 h 2324100"/>
              <a:gd name="connsiteX362" fmla="*/ 179467 w 1263007"/>
              <a:gd name="connsiteY362" fmla="*/ 1883568 h 2324100"/>
              <a:gd name="connsiteX363" fmla="*/ 186611 w 1263007"/>
              <a:gd name="connsiteY363" fmla="*/ 1878806 h 2324100"/>
              <a:gd name="connsiteX364" fmla="*/ 200898 w 1263007"/>
              <a:gd name="connsiteY364" fmla="*/ 1866900 h 2324100"/>
              <a:gd name="connsiteX365" fmla="*/ 217567 w 1263007"/>
              <a:gd name="connsiteY365" fmla="*/ 1843087 h 2324100"/>
              <a:gd name="connsiteX366" fmla="*/ 224711 w 1263007"/>
              <a:gd name="connsiteY366" fmla="*/ 1838325 h 2324100"/>
              <a:gd name="connsiteX367" fmla="*/ 231855 w 1263007"/>
              <a:gd name="connsiteY367" fmla="*/ 1831181 h 2324100"/>
              <a:gd name="connsiteX368" fmla="*/ 241380 w 1263007"/>
              <a:gd name="connsiteY368" fmla="*/ 1814512 h 2324100"/>
              <a:gd name="connsiteX369" fmla="*/ 248523 w 1263007"/>
              <a:gd name="connsiteY369" fmla="*/ 1809750 h 2324100"/>
              <a:gd name="connsiteX370" fmla="*/ 255667 w 1263007"/>
              <a:gd name="connsiteY370" fmla="*/ 1795462 h 2324100"/>
              <a:gd name="connsiteX371" fmla="*/ 262811 w 1263007"/>
              <a:gd name="connsiteY371" fmla="*/ 1754981 h 2324100"/>
              <a:gd name="connsiteX372" fmla="*/ 267573 w 1263007"/>
              <a:gd name="connsiteY372" fmla="*/ 1733550 h 2324100"/>
              <a:gd name="connsiteX373" fmla="*/ 272336 w 1263007"/>
              <a:gd name="connsiteY373" fmla="*/ 1719262 h 2324100"/>
              <a:gd name="connsiteX374" fmla="*/ 284242 w 1263007"/>
              <a:gd name="connsiteY374" fmla="*/ 1697831 h 2324100"/>
              <a:gd name="connsiteX375" fmla="*/ 291386 w 1263007"/>
              <a:gd name="connsiteY375" fmla="*/ 1695450 h 2324100"/>
              <a:gd name="connsiteX376" fmla="*/ 305673 w 1263007"/>
              <a:gd name="connsiteY376" fmla="*/ 1685925 h 2324100"/>
              <a:gd name="connsiteX377" fmla="*/ 312817 w 1263007"/>
              <a:gd name="connsiteY377" fmla="*/ 1681162 h 2324100"/>
              <a:gd name="connsiteX378" fmla="*/ 319961 w 1263007"/>
              <a:gd name="connsiteY378" fmla="*/ 1678781 h 2324100"/>
              <a:gd name="connsiteX379" fmla="*/ 327105 w 1263007"/>
              <a:gd name="connsiteY379" fmla="*/ 1654968 h 2324100"/>
              <a:gd name="connsiteX380" fmla="*/ 331867 w 1263007"/>
              <a:gd name="connsiteY380" fmla="*/ 1645443 h 2324100"/>
              <a:gd name="connsiteX381" fmla="*/ 336630 w 1263007"/>
              <a:gd name="connsiteY381" fmla="*/ 1638300 h 2324100"/>
              <a:gd name="connsiteX382" fmla="*/ 343773 w 1263007"/>
              <a:gd name="connsiteY382" fmla="*/ 1631156 h 2324100"/>
              <a:gd name="connsiteX383" fmla="*/ 360442 w 1263007"/>
              <a:gd name="connsiteY383" fmla="*/ 1607343 h 2324100"/>
              <a:gd name="connsiteX384" fmla="*/ 369967 w 1263007"/>
              <a:gd name="connsiteY384" fmla="*/ 1604962 h 2324100"/>
              <a:gd name="connsiteX385" fmla="*/ 374730 w 1263007"/>
              <a:gd name="connsiteY385" fmla="*/ 1597818 h 2324100"/>
              <a:gd name="connsiteX386" fmla="*/ 381873 w 1263007"/>
              <a:gd name="connsiteY386" fmla="*/ 1595437 h 2324100"/>
              <a:gd name="connsiteX387" fmla="*/ 391398 w 1263007"/>
              <a:gd name="connsiteY387" fmla="*/ 1581150 h 2324100"/>
              <a:gd name="connsiteX388" fmla="*/ 396161 w 1263007"/>
              <a:gd name="connsiteY388" fmla="*/ 1574006 h 2324100"/>
              <a:gd name="connsiteX389" fmla="*/ 403305 w 1263007"/>
              <a:gd name="connsiteY389" fmla="*/ 1559718 h 2324100"/>
              <a:gd name="connsiteX390" fmla="*/ 410448 w 1263007"/>
              <a:gd name="connsiteY390" fmla="*/ 1554956 h 2324100"/>
              <a:gd name="connsiteX391" fmla="*/ 412830 w 1263007"/>
              <a:gd name="connsiteY391" fmla="*/ 1547812 h 2324100"/>
              <a:gd name="connsiteX392" fmla="*/ 422355 w 1263007"/>
              <a:gd name="connsiteY392" fmla="*/ 1533525 h 2324100"/>
              <a:gd name="connsiteX393" fmla="*/ 427117 w 1263007"/>
              <a:gd name="connsiteY393" fmla="*/ 1519237 h 2324100"/>
              <a:gd name="connsiteX394" fmla="*/ 429498 w 1263007"/>
              <a:gd name="connsiteY394" fmla="*/ 1512093 h 2324100"/>
              <a:gd name="connsiteX395" fmla="*/ 427117 w 1263007"/>
              <a:gd name="connsiteY395" fmla="*/ 1473993 h 2324100"/>
              <a:gd name="connsiteX396" fmla="*/ 427117 w 1263007"/>
              <a:gd name="connsiteY396" fmla="*/ 1431131 h 2324100"/>
              <a:gd name="connsiteX397" fmla="*/ 436642 w 1263007"/>
              <a:gd name="connsiteY397" fmla="*/ 1426368 h 2324100"/>
              <a:gd name="connsiteX398" fmla="*/ 446167 w 1263007"/>
              <a:gd name="connsiteY398" fmla="*/ 1412081 h 2324100"/>
              <a:gd name="connsiteX399" fmla="*/ 450930 w 1263007"/>
              <a:gd name="connsiteY399" fmla="*/ 1404937 h 2324100"/>
              <a:gd name="connsiteX400" fmla="*/ 458073 w 1263007"/>
              <a:gd name="connsiteY400" fmla="*/ 1395412 h 2324100"/>
              <a:gd name="connsiteX401" fmla="*/ 472361 w 1263007"/>
              <a:gd name="connsiteY401" fmla="*/ 1390650 h 2324100"/>
              <a:gd name="connsiteX402" fmla="*/ 477123 w 1263007"/>
              <a:gd name="connsiteY402" fmla="*/ 1376362 h 2324100"/>
              <a:gd name="connsiteX403" fmla="*/ 491411 w 1263007"/>
              <a:gd name="connsiteY403" fmla="*/ 1371600 h 2324100"/>
              <a:gd name="connsiteX404" fmla="*/ 498555 w 1263007"/>
              <a:gd name="connsiteY404" fmla="*/ 1364456 h 2324100"/>
              <a:gd name="connsiteX405" fmla="*/ 515223 w 1263007"/>
              <a:gd name="connsiteY405" fmla="*/ 1345406 h 2324100"/>
              <a:gd name="connsiteX406" fmla="*/ 527130 w 1263007"/>
              <a:gd name="connsiteY406" fmla="*/ 1343025 h 2324100"/>
              <a:gd name="connsiteX407" fmla="*/ 534273 w 1263007"/>
              <a:gd name="connsiteY407" fmla="*/ 1340643 h 2324100"/>
              <a:gd name="connsiteX408" fmla="*/ 536655 w 1263007"/>
              <a:gd name="connsiteY408" fmla="*/ 1333500 h 2324100"/>
              <a:gd name="connsiteX409" fmla="*/ 546180 w 1263007"/>
              <a:gd name="connsiteY409" fmla="*/ 1319212 h 2324100"/>
              <a:gd name="connsiteX410" fmla="*/ 548561 w 1263007"/>
              <a:gd name="connsiteY410" fmla="*/ 1312068 h 2324100"/>
              <a:gd name="connsiteX411" fmla="*/ 581898 w 1263007"/>
              <a:gd name="connsiteY411" fmla="*/ 1304925 h 2324100"/>
              <a:gd name="connsiteX412" fmla="*/ 584280 w 1263007"/>
              <a:gd name="connsiteY412" fmla="*/ 1259681 h 2324100"/>
              <a:gd name="connsiteX413" fmla="*/ 586661 w 1263007"/>
              <a:gd name="connsiteY413" fmla="*/ 1250156 h 2324100"/>
              <a:gd name="connsiteX414" fmla="*/ 589042 w 1263007"/>
              <a:gd name="connsiteY414" fmla="*/ 1228725 h 2324100"/>
              <a:gd name="connsiteX415" fmla="*/ 591423 w 1263007"/>
              <a:gd name="connsiteY415" fmla="*/ 1202531 h 2324100"/>
              <a:gd name="connsiteX416" fmla="*/ 593805 w 1263007"/>
              <a:gd name="connsiteY416" fmla="*/ 1195387 h 2324100"/>
              <a:gd name="connsiteX417" fmla="*/ 603330 w 1263007"/>
              <a:gd name="connsiteY417" fmla="*/ 1193006 h 2324100"/>
              <a:gd name="connsiteX418" fmla="*/ 615236 w 1263007"/>
              <a:gd name="connsiteY418" fmla="*/ 1178718 h 2324100"/>
              <a:gd name="connsiteX419" fmla="*/ 617617 w 1263007"/>
              <a:gd name="connsiteY419" fmla="*/ 1171575 h 2324100"/>
              <a:gd name="connsiteX420" fmla="*/ 622380 w 1263007"/>
              <a:gd name="connsiteY420" fmla="*/ 1143000 h 2324100"/>
              <a:gd name="connsiteX421" fmla="*/ 627142 w 1263007"/>
              <a:gd name="connsiteY421" fmla="*/ 1104900 h 2324100"/>
              <a:gd name="connsiteX422" fmla="*/ 631905 w 1263007"/>
              <a:gd name="connsiteY422" fmla="*/ 1090612 h 2324100"/>
              <a:gd name="connsiteX423" fmla="*/ 636667 w 1263007"/>
              <a:gd name="connsiteY423" fmla="*/ 1073943 h 2324100"/>
              <a:gd name="connsiteX424" fmla="*/ 639048 w 1263007"/>
              <a:gd name="connsiteY424" fmla="*/ 1054893 h 2324100"/>
              <a:gd name="connsiteX425" fmla="*/ 641430 w 1263007"/>
              <a:gd name="connsiteY425" fmla="*/ 1038225 h 2324100"/>
              <a:gd name="connsiteX426" fmla="*/ 646192 w 1263007"/>
              <a:gd name="connsiteY426" fmla="*/ 1000125 h 2324100"/>
              <a:gd name="connsiteX427" fmla="*/ 639048 w 1263007"/>
              <a:gd name="connsiteY427" fmla="*/ 931068 h 2324100"/>
              <a:gd name="connsiteX428" fmla="*/ 634286 w 1263007"/>
              <a:gd name="connsiteY428" fmla="*/ 923925 h 2324100"/>
              <a:gd name="connsiteX429" fmla="*/ 629523 w 1263007"/>
              <a:gd name="connsiteY429" fmla="*/ 902493 h 2324100"/>
              <a:gd name="connsiteX430" fmla="*/ 624761 w 1263007"/>
              <a:gd name="connsiteY430" fmla="*/ 885825 h 2324100"/>
              <a:gd name="connsiteX431" fmla="*/ 619998 w 1263007"/>
              <a:gd name="connsiteY431" fmla="*/ 850106 h 2324100"/>
              <a:gd name="connsiteX432" fmla="*/ 615236 w 1263007"/>
              <a:gd name="connsiteY432" fmla="*/ 833437 h 2324100"/>
              <a:gd name="connsiteX433" fmla="*/ 603330 w 1263007"/>
              <a:gd name="connsiteY433" fmla="*/ 819150 h 2324100"/>
              <a:gd name="connsiteX434" fmla="*/ 598567 w 1263007"/>
              <a:gd name="connsiteY434" fmla="*/ 790575 h 2324100"/>
              <a:gd name="connsiteX435" fmla="*/ 584280 w 1263007"/>
              <a:gd name="connsiteY435" fmla="*/ 781050 h 2324100"/>
              <a:gd name="connsiteX436" fmla="*/ 569992 w 1263007"/>
              <a:gd name="connsiteY436" fmla="*/ 757237 h 2324100"/>
              <a:gd name="connsiteX437" fmla="*/ 565230 w 1263007"/>
              <a:gd name="connsiteY437" fmla="*/ 740568 h 2324100"/>
              <a:gd name="connsiteX438" fmla="*/ 558086 w 1263007"/>
              <a:gd name="connsiteY438" fmla="*/ 719137 h 2324100"/>
              <a:gd name="connsiteX439" fmla="*/ 555705 w 1263007"/>
              <a:gd name="connsiteY439" fmla="*/ 711993 h 2324100"/>
              <a:gd name="connsiteX440" fmla="*/ 550942 w 1263007"/>
              <a:gd name="connsiteY440" fmla="*/ 704850 h 2324100"/>
              <a:gd name="connsiteX441" fmla="*/ 548561 w 1263007"/>
              <a:gd name="connsiteY441" fmla="*/ 642937 h 2324100"/>
              <a:gd name="connsiteX442" fmla="*/ 536655 w 1263007"/>
              <a:gd name="connsiteY442" fmla="*/ 638175 h 2324100"/>
              <a:gd name="connsiteX443" fmla="*/ 529511 w 1263007"/>
              <a:gd name="connsiteY443" fmla="*/ 633412 h 2324100"/>
              <a:gd name="connsiteX444" fmla="*/ 515223 w 1263007"/>
              <a:gd name="connsiteY444" fmla="*/ 628650 h 2324100"/>
              <a:gd name="connsiteX445" fmla="*/ 500936 w 1263007"/>
              <a:gd name="connsiteY445" fmla="*/ 619125 h 2324100"/>
              <a:gd name="connsiteX446" fmla="*/ 493792 w 1263007"/>
              <a:gd name="connsiteY446" fmla="*/ 614362 h 2324100"/>
              <a:gd name="connsiteX447" fmla="*/ 486648 w 1263007"/>
              <a:gd name="connsiteY447" fmla="*/ 583406 h 2324100"/>
              <a:gd name="connsiteX448" fmla="*/ 484267 w 1263007"/>
              <a:gd name="connsiteY448" fmla="*/ 576262 h 2324100"/>
              <a:gd name="connsiteX449" fmla="*/ 474742 w 1263007"/>
              <a:gd name="connsiteY449" fmla="*/ 559593 h 2324100"/>
              <a:gd name="connsiteX450" fmla="*/ 460455 w 1263007"/>
              <a:gd name="connsiteY450" fmla="*/ 542925 h 2324100"/>
              <a:gd name="connsiteX451" fmla="*/ 446167 w 1263007"/>
              <a:gd name="connsiteY451" fmla="*/ 538162 h 2324100"/>
              <a:gd name="connsiteX452" fmla="*/ 441405 w 1263007"/>
              <a:gd name="connsiteY452" fmla="*/ 531018 h 2324100"/>
              <a:gd name="connsiteX453" fmla="*/ 434261 w 1263007"/>
              <a:gd name="connsiteY453" fmla="*/ 526256 h 2324100"/>
              <a:gd name="connsiteX454" fmla="*/ 417592 w 1263007"/>
              <a:gd name="connsiteY454" fmla="*/ 519112 h 2324100"/>
              <a:gd name="connsiteX455" fmla="*/ 408067 w 1263007"/>
              <a:gd name="connsiteY455" fmla="*/ 511968 h 2324100"/>
              <a:gd name="connsiteX456" fmla="*/ 405686 w 1263007"/>
              <a:gd name="connsiteY456" fmla="*/ 504825 h 2324100"/>
              <a:gd name="connsiteX457" fmla="*/ 398542 w 1263007"/>
              <a:gd name="connsiteY457" fmla="*/ 497681 h 2324100"/>
              <a:gd name="connsiteX458" fmla="*/ 391398 w 1263007"/>
              <a:gd name="connsiteY458" fmla="*/ 488156 h 2324100"/>
              <a:gd name="connsiteX459" fmla="*/ 384255 w 1263007"/>
              <a:gd name="connsiteY459" fmla="*/ 483393 h 2324100"/>
              <a:gd name="connsiteX460" fmla="*/ 377111 w 1263007"/>
              <a:gd name="connsiteY460" fmla="*/ 476250 h 2324100"/>
              <a:gd name="connsiteX461" fmla="*/ 369967 w 1263007"/>
              <a:gd name="connsiteY461" fmla="*/ 471487 h 2324100"/>
              <a:gd name="connsiteX462" fmla="*/ 355680 w 1263007"/>
              <a:gd name="connsiteY462" fmla="*/ 457200 h 2324100"/>
              <a:gd name="connsiteX463" fmla="*/ 341392 w 1263007"/>
              <a:gd name="connsiteY463" fmla="*/ 442912 h 2324100"/>
              <a:gd name="connsiteX464" fmla="*/ 331867 w 1263007"/>
              <a:gd name="connsiteY464" fmla="*/ 433387 h 2324100"/>
              <a:gd name="connsiteX465" fmla="*/ 315198 w 1263007"/>
              <a:gd name="connsiteY465" fmla="*/ 423862 h 2324100"/>
              <a:gd name="connsiteX466" fmla="*/ 293767 w 1263007"/>
              <a:gd name="connsiteY466" fmla="*/ 419100 h 2324100"/>
              <a:gd name="connsiteX467" fmla="*/ 281861 w 1263007"/>
              <a:gd name="connsiteY467" fmla="*/ 414337 h 2324100"/>
              <a:gd name="connsiteX468" fmla="*/ 277098 w 1263007"/>
              <a:gd name="connsiteY468" fmla="*/ 407193 h 2324100"/>
              <a:gd name="connsiteX469" fmla="*/ 269955 w 1263007"/>
              <a:gd name="connsiteY469" fmla="*/ 390525 h 2324100"/>
              <a:gd name="connsiteX470" fmla="*/ 267573 w 1263007"/>
              <a:gd name="connsiteY470" fmla="*/ 381000 h 2324100"/>
              <a:gd name="connsiteX471" fmla="*/ 262811 w 1263007"/>
              <a:gd name="connsiteY471" fmla="*/ 371475 h 2324100"/>
              <a:gd name="connsiteX472" fmla="*/ 248523 w 1263007"/>
              <a:gd name="connsiteY472" fmla="*/ 366712 h 2324100"/>
              <a:gd name="connsiteX473" fmla="*/ 241380 w 1263007"/>
              <a:gd name="connsiteY473" fmla="*/ 361950 h 2324100"/>
              <a:gd name="connsiteX474" fmla="*/ 234236 w 1263007"/>
              <a:gd name="connsiteY474" fmla="*/ 359568 h 2324100"/>
              <a:gd name="connsiteX475" fmla="*/ 222330 w 1263007"/>
              <a:gd name="connsiteY475" fmla="*/ 338137 h 2324100"/>
              <a:gd name="connsiteX476" fmla="*/ 219948 w 1263007"/>
              <a:gd name="connsiteY476" fmla="*/ 330993 h 2324100"/>
              <a:gd name="connsiteX477" fmla="*/ 212805 w 1263007"/>
              <a:gd name="connsiteY477" fmla="*/ 321468 h 2324100"/>
              <a:gd name="connsiteX478" fmla="*/ 203280 w 1263007"/>
              <a:gd name="connsiteY478" fmla="*/ 302418 h 2324100"/>
              <a:gd name="connsiteX479" fmla="*/ 191373 w 1263007"/>
              <a:gd name="connsiteY479" fmla="*/ 290512 h 2324100"/>
              <a:gd name="connsiteX480" fmla="*/ 172323 w 1263007"/>
              <a:gd name="connsiteY480" fmla="*/ 285750 h 2324100"/>
              <a:gd name="connsiteX481" fmla="*/ 162798 w 1263007"/>
              <a:gd name="connsiteY481" fmla="*/ 280987 h 2324100"/>
              <a:gd name="connsiteX482" fmla="*/ 155655 w 1263007"/>
              <a:gd name="connsiteY482" fmla="*/ 278606 h 2324100"/>
              <a:gd name="connsiteX483" fmla="*/ 146130 w 1263007"/>
              <a:gd name="connsiteY483" fmla="*/ 271462 h 2324100"/>
              <a:gd name="connsiteX484" fmla="*/ 127080 w 1263007"/>
              <a:gd name="connsiteY484" fmla="*/ 261937 h 2324100"/>
              <a:gd name="connsiteX485" fmla="*/ 117555 w 1263007"/>
              <a:gd name="connsiteY485" fmla="*/ 257175 h 2324100"/>
              <a:gd name="connsiteX486" fmla="*/ 103267 w 1263007"/>
              <a:gd name="connsiteY486" fmla="*/ 247650 h 2324100"/>
              <a:gd name="connsiteX487" fmla="*/ 100886 w 1263007"/>
              <a:gd name="connsiteY487" fmla="*/ 221456 h 2324100"/>
              <a:gd name="connsiteX488" fmla="*/ 91361 w 1263007"/>
              <a:gd name="connsiteY488" fmla="*/ 216693 h 2324100"/>
              <a:gd name="connsiteX489" fmla="*/ 72311 w 1263007"/>
              <a:gd name="connsiteY489" fmla="*/ 211931 h 2324100"/>
              <a:gd name="connsiteX490" fmla="*/ 48498 w 1263007"/>
              <a:gd name="connsiteY490" fmla="*/ 202406 h 2324100"/>
              <a:gd name="connsiteX491" fmla="*/ 41355 w 1263007"/>
              <a:gd name="connsiteY491" fmla="*/ 200025 h 2324100"/>
              <a:gd name="connsiteX492" fmla="*/ 34211 w 1263007"/>
              <a:gd name="connsiteY492" fmla="*/ 197643 h 2324100"/>
              <a:gd name="connsiteX493" fmla="*/ 31830 w 1263007"/>
              <a:gd name="connsiteY493" fmla="*/ 190500 h 2324100"/>
              <a:gd name="connsiteX494" fmla="*/ 24686 w 1263007"/>
              <a:gd name="connsiteY494" fmla="*/ 183356 h 2324100"/>
              <a:gd name="connsiteX495" fmla="*/ 19923 w 1263007"/>
              <a:gd name="connsiteY495" fmla="*/ 176212 h 2324100"/>
              <a:gd name="connsiteX496" fmla="*/ 15161 w 1263007"/>
              <a:gd name="connsiteY496" fmla="*/ 135731 h 2324100"/>
              <a:gd name="connsiteX497" fmla="*/ 12780 w 1263007"/>
              <a:gd name="connsiteY497" fmla="*/ 128587 h 2324100"/>
              <a:gd name="connsiteX498" fmla="*/ 5636 w 1263007"/>
              <a:gd name="connsiteY498" fmla="*/ 123825 h 2324100"/>
              <a:gd name="connsiteX499" fmla="*/ 3255 w 1263007"/>
              <a:gd name="connsiteY499" fmla="*/ 71437 h 2324100"/>
              <a:gd name="connsiteX500" fmla="*/ 8017 w 1263007"/>
              <a:gd name="connsiteY500" fmla="*/ 42862 h 2324100"/>
              <a:gd name="connsiteX501" fmla="*/ 10398 w 1263007"/>
              <a:gd name="connsiteY501" fmla="*/ 33337 h 2324100"/>
              <a:gd name="connsiteX502" fmla="*/ 12780 w 1263007"/>
              <a:gd name="connsiteY502" fmla="*/ 21431 h 2324100"/>
              <a:gd name="connsiteX503" fmla="*/ 29448 w 1263007"/>
              <a:gd name="connsiteY503" fmla="*/ 14287 h 2324100"/>
              <a:gd name="connsiteX504" fmla="*/ 34211 w 1263007"/>
              <a:gd name="connsiteY504" fmla="*/ 7143 h 2324100"/>
              <a:gd name="connsiteX505" fmla="*/ 58023 w 1263007"/>
              <a:gd name="connsiteY505" fmla="*/ 0 h 2324100"/>
              <a:gd name="connsiteX506" fmla="*/ 77073 w 1263007"/>
              <a:gd name="connsiteY506" fmla="*/ 2381 h 2324100"/>
              <a:gd name="connsiteX507" fmla="*/ 84217 w 1263007"/>
              <a:gd name="connsiteY507" fmla="*/ 4762 h 2324100"/>
              <a:gd name="connsiteX508" fmla="*/ 110411 w 1263007"/>
              <a:gd name="connsiteY508" fmla="*/ 7143 h 2324100"/>
              <a:gd name="connsiteX509" fmla="*/ 119936 w 1263007"/>
              <a:gd name="connsiteY509" fmla="*/ 30956 h 2324100"/>
              <a:gd name="connsiteX510" fmla="*/ 127080 w 1263007"/>
              <a:gd name="connsiteY510" fmla="*/ 35718 h 2324100"/>
              <a:gd name="connsiteX511" fmla="*/ 165180 w 1263007"/>
              <a:gd name="connsiteY511" fmla="*/ 45243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Lst>
            <a:rect l="l" t="t" r="r" b="b"/>
            <a:pathLst>
              <a:path w="1263007" h="2324100">
                <a:moveTo>
                  <a:pt x="165180" y="45243"/>
                </a:moveTo>
                <a:lnTo>
                  <a:pt x="165180" y="45243"/>
                </a:lnTo>
                <a:cubicBezTo>
                  <a:pt x="168079" y="77137"/>
                  <a:pt x="162698" y="64142"/>
                  <a:pt x="177086" y="85725"/>
                </a:cubicBezTo>
                <a:cubicBezTo>
                  <a:pt x="178673" y="88106"/>
                  <a:pt x="180943" y="90153"/>
                  <a:pt x="181848" y="92868"/>
                </a:cubicBezTo>
                <a:lnTo>
                  <a:pt x="186611" y="107156"/>
                </a:lnTo>
                <a:cubicBezTo>
                  <a:pt x="187405" y="114300"/>
                  <a:pt x="187810" y="121497"/>
                  <a:pt x="188992" y="128587"/>
                </a:cubicBezTo>
                <a:cubicBezTo>
                  <a:pt x="189405" y="131063"/>
                  <a:pt x="190683" y="133317"/>
                  <a:pt x="191373" y="135731"/>
                </a:cubicBezTo>
                <a:cubicBezTo>
                  <a:pt x="192272" y="138878"/>
                  <a:pt x="192961" y="142081"/>
                  <a:pt x="193755" y="145256"/>
                </a:cubicBezTo>
                <a:cubicBezTo>
                  <a:pt x="195747" y="165177"/>
                  <a:pt x="189741" y="167061"/>
                  <a:pt x="203280" y="173831"/>
                </a:cubicBezTo>
                <a:cubicBezTo>
                  <a:pt x="205525" y="174953"/>
                  <a:pt x="208042" y="175418"/>
                  <a:pt x="210423" y="176212"/>
                </a:cubicBezTo>
                <a:lnTo>
                  <a:pt x="231855" y="190500"/>
                </a:lnTo>
                <a:lnTo>
                  <a:pt x="238998" y="195262"/>
                </a:lnTo>
                <a:cubicBezTo>
                  <a:pt x="240586" y="197643"/>
                  <a:pt x="241737" y="200382"/>
                  <a:pt x="243761" y="202406"/>
                </a:cubicBezTo>
                <a:cubicBezTo>
                  <a:pt x="245785" y="204430"/>
                  <a:pt x="249117" y="204933"/>
                  <a:pt x="250905" y="207168"/>
                </a:cubicBezTo>
                <a:cubicBezTo>
                  <a:pt x="264053" y="223602"/>
                  <a:pt x="239953" y="205423"/>
                  <a:pt x="260430" y="219075"/>
                </a:cubicBezTo>
                <a:cubicBezTo>
                  <a:pt x="263944" y="224346"/>
                  <a:pt x="266836" y="229695"/>
                  <a:pt x="272336" y="233362"/>
                </a:cubicBezTo>
                <a:cubicBezTo>
                  <a:pt x="274425" y="234754"/>
                  <a:pt x="277099" y="234949"/>
                  <a:pt x="279480" y="235743"/>
                </a:cubicBezTo>
                <a:lnTo>
                  <a:pt x="293767" y="245268"/>
                </a:lnTo>
                <a:cubicBezTo>
                  <a:pt x="296148" y="246856"/>
                  <a:pt x="298887" y="248007"/>
                  <a:pt x="300911" y="250031"/>
                </a:cubicBezTo>
                <a:cubicBezTo>
                  <a:pt x="310078" y="259198"/>
                  <a:pt x="305253" y="255307"/>
                  <a:pt x="315198" y="261937"/>
                </a:cubicBezTo>
                <a:cubicBezTo>
                  <a:pt x="327902" y="280992"/>
                  <a:pt x="311226" y="257964"/>
                  <a:pt x="327105" y="273843"/>
                </a:cubicBezTo>
                <a:cubicBezTo>
                  <a:pt x="337877" y="284615"/>
                  <a:pt x="325102" y="278732"/>
                  <a:pt x="339011" y="283368"/>
                </a:cubicBezTo>
                <a:cubicBezTo>
                  <a:pt x="343773" y="286543"/>
                  <a:pt x="347868" y="291083"/>
                  <a:pt x="353298" y="292893"/>
                </a:cubicBezTo>
                <a:lnTo>
                  <a:pt x="367586" y="297656"/>
                </a:lnTo>
                <a:cubicBezTo>
                  <a:pt x="369967" y="298450"/>
                  <a:pt x="372295" y="299428"/>
                  <a:pt x="374730" y="300037"/>
                </a:cubicBezTo>
                <a:lnTo>
                  <a:pt x="384255" y="302418"/>
                </a:lnTo>
                <a:cubicBezTo>
                  <a:pt x="386636" y="304006"/>
                  <a:pt x="390335" y="304524"/>
                  <a:pt x="391398" y="307181"/>
                </a:cubicBezTo>
                <a:cubicBezTo>
                  <a:pt x="393485" y="312398"/>
                  <a:pt x="390521" y="328362"/>
                  <a:pt x="398542" y="333375"/>
                </a:cubicBezTo>
                <a:cubicBezTo>
                  <a:pt x="402799" y="336036"/>
                  <a:pt x="408067" y="336550"/>
                  <a:pt x="412830" y="338137"/>
                </a:cubicBezTo>
                <a:lnTo>
                  <a:pt x="419973" y="340518"/>
                </a:lnTo>
                <a:cubicBezTo>
                  <a:pt x="424736" y="343693"/>
                  <a:pt x="431086" y="345280"/>
                  <a:pt x="434261" y="350043"/>
                </a:cubicBezTo>
                <a:cubicBezTo>
                  <a:pt x="440415" y="359276"/>
                  <a:pt x="436308" y="356282"/>
                  <a:pt x="446167" y="359568"/>
                </a:cubicBezTo>
                <a:cubicBezTo>
                  <a:pt x="448548" y="361156"/>
                  <a:pt x="450751" y="363051"/>
                  <a:pt x="453311" y="364331"/>
                </a:cubicBezTo>
                <a:cubicBezTo>
                  <a:pt x="455556" y="365454"/>
                  <a:pt x="458261" y="365493"/>
                  <a:pt x="460455" y="366712"/>
                </a:cubicBezTo>
                <a:cubicBezTo>
                  <a:pt x="465458" y="369492"/>
                  <a:pt x="469312" y="374427"/>
                  <a:pt x="474742" y="376237"/>
                </a:cubicBezTo>
                <a:cubicBezTo>
                  <a:pt x="479505" y="377825"/>
                  <a:pt x="484853" y="378215"/>
                  <a:pt x="489030" y="381000"/>
                </a:cubicBezTo>
                <a:cubicBezTo>
                  <a:pt x="500349" y="388546"/>
                  <a:pt x="493459" y="384858"/>
                  <a:pt x="510461" y="390525"/>
                </a:cubicBezTo>
                <a:lnTo>
                  <a:pt x="531892" y="397668"/>
                </a:lnTo>
                <a:lnTo>
                  <a:pt x="539036" y="400050"/>
                </a:lnTo>
                <a:lnTo>
                  <a:pt x="546180" y="402431"/>
                </a:lnTo>
                <a:lnTo>
                  <a:pt x="567611" y="416718"/>
                </a:lnTo>
                <a:lnTo>
                  <a:pt x="574755" y="421481"/>
                </a:lnTo>
                <a:cubicBezTo>
                  <a:pt x="575549" y="424656"/>
                  <a:pt x="575847" y="427998"/>
                  <a:pt x="577136" y="431006"/>
                </a:cubicBezTo>
                <a:cubicBezTo>
                  <a:pt x="578263" y="433637"/>
                  <a:pt x="579663" y="436362"/>
                  <a:pt x="581898" y="438150"/>
                </a:cubicBezTo>
                <a:cubicBezTo>
                  <a:pt x="583858" y="439718"/>
                  <a:pt x="586581" y="440039"/>
                  <a:pt x="589042" y="440531"/>
                </a:cubicBezTo>
                <a:cubicBezTo>
                  <a:pt x="594546" y="441632"/>
                  <a:pt x="600155" y="442118"/>
                  <a:pt x="605711" y="442912"/>
                </a:cubicBezTo>
                <a:cubicBezTo>
                  <a:pt x="622713" y="448580"/>
                  <a:pt x="617213" y="443498"/>
                  <a:pt x="624761" y="454818"/>
                </a:cubicBezTo>
                <a:cubicBezTo>
                  <a:pt x="625555" y="457199"/>
                  <a:pt x="625099" y="460503"/>
                  <a:pt x="627142" y="461962"/>
                </a:cubicBezTo>
                <a:cubicBezTo>
                  <a:pt x="631227" y="464880"/>
                  <a:pt x="641430" y="466725"/>
                  <a:pt x="641430" y="466725"/>
                </a:cubicBezTo>
                <a:cubicBezTo>
                  <a:pt x="652764" y="459167"/>
                  <a:pt x="647808" y="464981"/>
                  <a:pt x="650955" y="447675"/>
                </a:cubicBezTo>
                <a:cubicBezTo>
                  <a:pt x="652467" y="439362"/>
                  <a:pt x="655836" y="423503"/>
                  <a:pt x="658098" y="416718"/>
                </a:cubicBezTo>
                <a:lnTo>
                  <a:pt x="662861" y="402431"/>
                </a:lnTo>
                <a:cubicBezTo>
                  <a:pt x="663655" y="400050"/>
                  <a:pt x="663153" y="396679"/>
                  <a:pt x="665242" y="395287"/>
                </a:cubicBezTo>
                <a:lnTo>
                  <a:pt x="672386" y="390525"/>
                </a:lnTo>
                <a:cubicBezTo>
                  <a:pt x="676354" y="378618"/>
                  <a:pt x="672386" y="384175"/>
                  <a:pt x="689055" y="378618"/>
                </a:cubicBezTo>
                <a:lnTo>
                  <a:pt x="696198" y="376237"/>
                </a:lnTo>
                <a:cubicBezTo>
                  <a:pt x="697786" y="373856"/>
                  <a:pt x="699799" y="371708"/>
                  <a:pt x="700961" y="369093"/>
                </a:cubicBezTo>
                <a:cubicBezTo>
                  <a:pt x="703000" y="364506"/>
                  <a:pt x="702939" y="358983"/>
                  <a:pt x="705723" y="354806"/>
                </a:cubicBezTo>
                <a:lnTo>
                  <a:pt x="715248" y="340518"/>
                </a:lnTo>
                <a:cubicBezTo>
                  <a:pt x="716835" y="338137"/>
                  <a:pt x="717296" y="334280"/>
                  <a:pt x="720011" y="333375"/>
                </a:cubicBezTo>
                <a:cubicBezTo>
                  <a:pt x="737976" y="327385"/>
                  <a:pt x="715826" y="335467"/>
                  <a:pt x="734298" y="326231"/>
                </a:cubicBezTo>
                <a:cubicBezTo>
                  <a:pt x="736543" y="325109"/>
                  <a:pt x="739061" y="324644"/>
                  <a:pt x="741442" y="323850"/>
                </a:cubicBezTo>
                <a:cubicBezTo>
                  <a:pt x="752764" y="316302"/>
                  <a:pt x="745869" y="319993"/>
                  <a:pt x="762873" y="314325"/>
                </a:cubicBezTo>
                <a:lnTo>
                  <a:pt x="777161" y="309562"/>
                </a:lnTo>
                <a:cubicBezTo>
                  <a:pt x="797837" y="306609"/>
                  <a:pt x="788326" y="308282"/>
                  <a:pt x="805736" y="304800"/>
                </a:cubicBezTo>
                <a:cubicBezTo>
                  <a:pt x="814467" y="305594"/>
                  <a:pt x="823251" y="305941"/>
                  <a:pt x="831930" y="307181"/>
                </a:cubicBezTo>
                <a:cubicBezTo>
                  <a:pt x="834415" y="307536"/>
                  <a:pt x="837298" y="307787"/>
                  <a:pt x="839073" y="309562"/>
                </a:cubicBezTo>
                <a:cubicBezTo>
                  <a:pt x="843120" y="313610"/>
                  <a:pt x="843835" y="320675"/>
                  <a:pt x="848598" y="323850"/>
                </a:cubicBezTo>
                <a:cubicBezTo>
                  <a:pt x="850979" y="325437"/>
                  <a:pt x="853127" y="327450"/>
                  <a:pt x="855742" y="328612"/>
                </a:cubicBezTo>
                <a:cubicBezTo>
                  <a:pt x="860330" y="330651"/>
                  <a:pt x="870030" y="333375"/>
                  <a:pt x="870030" y="333375"/>
                </a:cubicBezTo>
                <a:cubicBezTo>
                  <a:pt x="885880" y="349225"/>
                  <a:pt x="870940" y="332156"/>
                  <a:pt x="879555" y="347662"/>
                </a:cubicBezTo>
                <a:cubicBezTo>
                  <a:pt x="882335" y="352666"/>
                  <a:pt x="889080" y="361950"/>
                  <a:pt x="889080" y="361950"/>
                </a:cubicBezTo>
                <a:cubicBezTo>
                  <a:pt x="894747" y="378952"/>
                  <a:pt x="891057" y="372060"/>
                  <a:pt x="898605" y="383381"/>
                </a:cubicBezTo>
                <a:lnTo>
                  <a:pt x="905748" y="404812"/>
                </a:lnTo>
                <a:cubicBezTo>
                  <a:pt x="906542" y="407193"/>
                  <a:pt x="906738" y="409867"/>
                  <a:pt x="908130" y="411956"/>
                </a:cubicBezTo>
                <a:cubicBezTo>
                  <a:pt x="909717" y="414337"/>
                  <a:pt x="911730" y="416485"/>
                  <a:pt x="912892" y="419100"/>
                </a:cubicBezTo>
                <a:cubicBezTo>
                  <a:pt x="914931" y="423687"/>
                  <a:pt x="914870" y="429210"/>
                  <a:pt x="917655" y="433387"/>
                </a:cubicBezTo>
                <a:lnTo>
                  <a:pt x="927180" y="447675"/>
                </a:lnTo>
                <a:cubicBezTo>
                  <a:pt x="932977" y="465067"/>
                  <a:pt x="930725" y="457092"/>
                  <a:pt x="934323" y="471487"/>
                </a:cubicBezTo>
                <a:cubicBezTo>
                  <a:pt x="934080" y="477080"/>
                  <a:pt x="926166" y="526062"/>
                  <a:pt x="936705" y="542925"/>
                </a:cubicBezTo>
                <a:cubicBezTo>
                  <a:pt x="938035" y="545053"/>
                  <a:pt x="941435" y="544617"/>
                  <a:pt x="943848" y="545306"/>
                </a:cubicBezTo>
                <a:cubicBezTo>
                  <a:pt x="946995" y="546205"/>
                  <a:pt x="950198" y="546893"/>
                  <a:pt x="953373" y="547687"/>
                </a:cubicBezTo>
                <a:cubicBezTo>
                  <a:pt x="963692" y="546893"/>
                  <a:pt x="974379" y="548149"/>
                  <a:pt x="984330" y="545306"/>
                </a:cubicBezTo>
                <a:cubicBezTo>
                  <a:pt x="986744" y="544616"/>
                  <a:pt x="986021" y="540576"/>
                  <a:pt x="986711" y="538162"/>
                </a:cubicBezTo>
                <a:cubicBezTo>
                  <a:pt x="987610" y="535015"/>
                  <a:pt x="987628" y="531564"/>
                  <a:pt x="989092" y="528637"/>
                </a:cubicBezTo>
                <a:cubicBezTo>
                  <a:pt x="991652" y="523518"/>
                  <a:pt x="995442" y="519112"/>
                  <a:pt x="998617" y="514350"/>
                </a:cubicBezTo>
                <a:lnTo>
                  <a:pt x="1003380" y="507206"/>
                </a:lnTo>
                <a:cubicBezTo>
                  <a:pt x="1004174" y="504825"/>
                  <a:pt x="1003986" y="501837"/>
                  <a:pt x="1005761" y="500062"/>
                </a:cubicBezTo>
                <a:cubicBezTo>
                  <a:pt x="1007536" y="498287"/>
                  <a:pt x="1010470" y="498290"/>
                  <a:pt x="1012905" y="497681"/>
                </a:cubicBezTo>
                <a:lnTo>
                  <a:pt x="1031955" y="492918"/>
                </a:lnTo>
                <a:cubicBezTo>
                  <a:pt x="1033891" y="487109"/>
                  <a:pt x="1034483" y="483246"/>
                  <a:pt x="1039098" y="478631"/>
                </a:cubicBezTo>
                <a:cubicBezTo>
                  <a:pt x="1041122" y="476607"/>
                  <a:pt x="1043861" y="475456"/>
                  <a:pt x="1046242" y="473868"/>
                </a:cubicBezTo>
                <a:cubicBezTo>
                  <a:pt x="1057159" y="457492"/>
                  <a:pt x="1050337" y="461391"/>
                  <a:pt x="1062911" y="457200"/>
                </a:cubicBezTo>
                <a:cubicBezTo>
                  <a:pt x="1070194" y="435349"/>
                  <a:pt x="1058020" y="469364"/>
                  <a:pt x="1072436" y="440531"/>
                </a:cubicBezTo>
                <a:cubicBezTo>
                  <a:pt x="1074681" y="436041"/>
                  <a:pt x="1073021" y="429028"/>
                  <a:pt x="1077198" y="426243"/>
                </a:cubicBezTo>
                <a:cubicBezTo>
                  <a:pt x="1093575" y="415326"/>
                  <a:pt x="1086056" y="418528"/>
                  <a:pt x="1098630" y="414337"/>
                </a:cubicBezTo>
                <a:cubicBezTo>
                  <a:pt x="1109322" y="403644"/>
                  <a:pt x="1104709" y="410387"/>
                  <a:pt x="1110536" y="392906"/>
                </a:cubicBezTo>
                <a:lnTo>
                  <a:pt x="1112917" y="385762"/>
                </a:lnTo>
                <a:lnTo>
                  <a:pt x="1115298" y="378618"/>
                </a:lnTo>
                <a:cubicBezTo>
                  <a:pt x="1114323" y="363010"/>
                  <a:pt x="1114885" y="344557"/>
                  <a:pt x="1110536" y="328612"/>
                </a:cubicBezTo>
                <a:cubicBezTo>
                  <a:pt x="1109215" y="323769"/>
                  <a:pt x="1107361" y="319087"/>
                  <a:pt x="1105773" y="314325"/>
                </a:cubicBezTo>
                <a:cubicBezTo>
                  <a:pt x="1097088" y="288271"/>
                  <a:pt x="1110940" y="327735"/>
                  <a:pt x="1098630" y="300037"/>
                </a:cubicBezTo>
                <a:cubicBezTo>
                  <a:pt x="1096591" y="295450"/>
                  <a:pt x="1093867" y="285750"/>
                  <a:pt x="1093867" y="285750"/>
                </a:cubicBezTo>
                <a:cubicBezTo>
                  <a:pt x="1094661" y="278606"/>
                  <a:pt x="1090876" y="269093"/>
                  <a:pt x="1096248" y="264318"/>
                </a:cubicBezTo>
                <a:cubicBezTo>
                  <a:pt x="1101031" y="260066"/>
                  <a:pt x="1108986" y="265648"/>
                  <a:pt x="1115298" y="266700"/>
                </a:cubicBezTo>
                <a:cubicBezTo>
                  <a:pt x="1121279" y="267697"/>
                  <a:pt x="1126304" y="269575"/>
                  <a:pt x="1131967" y="271462"/>
                </a:cubicBezTo>
                <a:cubicBezTo>
                  <a:pt x="1152436" y="285109"/>
                  <a:pt x="1126541" y="268750"/>
                  <a:pt x="1146255" y="278606"/>
                </a:cubicBezTo>
                <a:cubicBezTo>
                  <a:pt x="1148815" y="279886"/>
                  <a:pt x="1150783" y="282206"/>
                  <a:pt x="1153398" y="283368"/>
                </a:cubicBezTo>
                <a:cubicBezTo>
                  <a:pt x="1157986" y="285407"/>
                  <a:pt x="1163509" y="285346"/>
                  <a:pt x="1167686" y="288131"/>
                </a:cubicBezTo>
                <a:cubicBezTo>
                  <a:pt x="1170067" y="289718"/>
                  <a:pt x="1172215" y="291731"/>
                  <a:pt x="1174830" y="292893"/>
                </a:cubicBezTo>
                <a:cubicBezTo>
                  <a:pt x="1179417" y="294932"/>
                  <a:pt x="1184355" y="296068"/>
                  <a:pt x="1189117" y="297656"/>
                </a:cubicBezTo>
                <a:lnTo>
                  <a:pt x="1196261" y="300037"/>
                </a:lnTo>
                <a:cubicBezTo>
                  <a:pt x="1197848" y="302418"/>
                  <a:pt x="1198596" y="305664"/>
                  <a:pt x="1201023" y="307181"/>
                </a:cubicBezTo>
                <a:cubicBezTo>
                  <a:pt x="1205280" y="309842"/>
                  <a:pt x="1215311" y="311943"/>
                  <a:pt x="1215311" y="311943"/>
                </a:cubicBezTo>
                <a:lnTo>
                  <a:pt x="1224836" y="326231"/>
                </a:lnTo>
                <a:cubicBezTo>
                  <a:pt x="1226423" y="328612"/>
                  <a:pt x="1227217" y="331788"/>
                  <a:pt x="1229598" y="333375"/>
                </a:cubicBezTo>
                <a:lnTo>
                  <a:pt x="1236742" y="338137"/>
                </a:lnTo>
                <a:lnTo>
                  <a:pt x="1246267" y="352425"/>
                </a:lnTo>
                <a:lnTo>
                  <a:pt x="1251030" y="359568"/>
                </a:lnTo>
                <a:cubicBezTo>
                  <a:pt x="1251824" y="361949"/>
                  <a:pt x="1252192" y="364518"/>
                  <a:pt x="1253411" y="366712"/>
                </a:cubicBezTo>
                <a:cubicBezTo>
                  <a:pt x="1256191" y="371716"/>
                  <a:pt x="1262936" y="381000"/>
                  <a:pt x="1262936" y="381000"/>
                </a:cubicBezTo>
                <a:cubicBezTo>
                  <a:pt x="1262142" y="389731"/>
                  <a:pt x="1264712" y="399474"/>
                  <a:pt x="1260555" y="407193"/>
                </a:cubicBezTo>
                <a:cubicBezTo>
                  <a:pt x="1258175" y="411613"/>
                  <a:pt x="1246267" y="411956"/>
                  <a:pt x="1246267" y="411956"/>
                </a:cubicBezTo>
                <a:cubicBezTo>
                  <a:pt x="1244680" y="414337"/>
                  <a:pt x="1242410" y="416385"/>
                  <a:pt x="1241505" y="419100"/>
                </a:cubicBezTo>
                <a:cubicBezTo>
                  <a:pt x="1239677" y="424585"/>
                  <a:pt x="1241194" y="436261"/>
                  <a:pt x="1234361" y="440531"/>
                </a:cubicBezTo>
                <a:cubicBezTo>
                  <a:pt x="1230104" y="443192"/>
                  <a:pt x="1220073" y="445293"/>
                  <a:pt x="1220073" y="445293"/>
                </a:cubicBezTo>
                <a:lnTo>
                  <a:pt x="1205786" y="454818"/>
                </a:lnTo>
                <a:lnTo>
                  <a:pt x="1198642" y="459581"/>
                </a:lnTo>
                <a:lnTo>
                  <a:pt x="1191498" y="481012"/>
                </a:lnTo>
                <a:lnTo>
                  <a:pt x="1189117" y="488156"/>
                </a:lnTo>
                <a:lnTo>
                  <a:pt x="1186736" y="495300"/>
                </a:lnTo>
                <a:cubicBezTo>
                  <a:pt x="1183970" y="531267"/>
                  <a:pt x="1187628" y="516435"/>
                  <a:pt x="1179592" y="540543"/>
                </a:cubicBezTo>
                <a:cubicBezTo>
                  <a:pt x="1178798" y="542924"/>
                  <a:pt x="1178603" y="545599"/>
                  <a:pt x="1177211" y="547687"/>
                </a:cubicBezTo>
                <a:cubicBezTo>
                  <a:pt x="1175623" y="550068"/>
                  <a:pt x="1174349" y="552692"/>
                  <a:pt x="1172448" y="554831"/>
                </a:cubicBezTo>
                <a:cubicBezTo>
                  <a:pt x="1167974" y="559865"/>
                  <a:pt x="1158161" y="569118"/>
                  <a:pt x="1158161" y="569118"/>
                </a:cubicBezTo>
                <a:cubicBezTo>
                  <a:pt x="1149479" y="595167"/>
                  <a:pt x="1163325" y="555714"/>
                  <a:pt x="1151017" y="583406"/>
                </a:cubicBezTo>
                <a:cubicBezTo>
                  <a:pt x="1148978" y="587993"/>
                  <a:pt x="1150432" y="594908"/>
                  <a:pt x="1146255" y="597693"/>
                </a:cubicBezTo>
                <a:cubicBezTo>
                  <a:pt x="1143874" y="599281"/>
                  <a:pt x="1141726" y="601294"/>
                  <a:pt x="1139111" y="602456"/>
                </a:cubicBezTo>
                <a:cubicBezTo>
                  <a:pt x="1134523" y="604495"/>
                  <a:pt x="1124823" y="607218"/>
                  <a:pt x="1124823" y="607218"/>
                </a:cubicBezTo>
                <a:cubicBezTo>
                  <a:pt x="1123236" y="609599"/>
                  <a:pt x="1121893" y="612163"/>
                  <a:pt x="1120061" y="614362"/>
                </a:cubicBezTo>
                <a:cubicBezTo>
                  <a:pt x="1116298" y="618878"/>
                  <a:pt x="1111126" y="623591"/>
                  <a:pt x="1105773" y="626268"/>
                </a:cubicBezTo>
                <a:cubicBezTo>
                  <a:pt x="1103528" y="627391"/>
                  <a:pt x="1101011" y="627856"/>
                  <a:pt x="1098630" y="628650"/>
                </a:cubicBezTo>
                <a:cubicBezTo>
                  <a:pt x="1096533" y="634939"/>
                  <a:pt x="1092861" y="648035"/>
                  <a:pt x="1086723" y="650081"/>
                </a:cubicBezTo>
                <a:lnTo>
                  <a:pt x="1079580" y="652462"/>
                </a:lnTo>
                <a:cubicBezTo>
                  <a:pt x="1066876" y="671517"/>
                  <a:pt x="1083552" y="648489"/>
                  <a:pt x="1067673" y="664368"/>
                </a:cubicBezTo>
                <a:cubicBezTo>
                  <a:pt x="1065649" y="666392"/>
                  <a:pt x="1064743" y="669313"/>
                  <a:pt x="1062911" y="671512"/>
                </a:cubicBezTo>
                <a:cubicBezTo>
                  <a:pt x="1057181" y="678388"/>
                  <a:pt x="1055648" y="678736"/>
                  <a:pt x="1048623" y="683418"/>
                </a:cubicBezTo>
                <a:cubicBezTo>
                  <a:pt x="1042956" y="700421"/>
                  <a:pt x="1048038" y="694922"/>
                  <a:pt x="1036717" y="702468"/>
                </a:cubicBezTo>
                <a:cubicBezTo>
                  <a:pt x="1035130" y="707231"/>
                  <a:pt x="1030368" y="711993"/>
                  <a:pt x="1031955" y="716756"/>
                </a:cubicBezTo>
                <a:cubicBezTo>
                  <a:pt x="1037622" y="733758"/>
                  <a:pt x="1033932" y="726866"/>
                  <a:pt x="1041480" y="738187"/>
                </a:cubicBezTo>
                <a:cubicBezTo>
                  <a:pt x="1045158" y="749224"/>
                  <a:pt x="1045401" y="748394"/>
                  <a:pt x="1046242" y="764381"/>
                </a:cubicBezTo>
                <a:cubicBezTo>
                  <a:pt x="1047494" y="788174"/>
                  <a:pt x="1047224" y="812034"/>
                  <a:pt x="1048623" y="835818"/>
                </a:cubicBezTo>
                <a:cubicBezTo>
                  <a:pt x="1048815" y="839085"/>
                  <a:pt x="1050295" y="842148"/>
                  <a:pt x="1051005" y="845343"/>
                </a:cubicBezTo>
                <a:cubicBezTo>
                  <a:pt x="1055494" y="865541"/>
                  <a:pt x="1050713" y="849233"/>
                  <a:pt x="1058148" y="871537"/>
                </a:cubicBezTo>
                <a:lnTo>
                  <a:pt x="1060530" y="878681"/>
                </a:lnTo>
                <a:lnTo>
                  <a:pt x="1062911" y="885825"/>
                </a:lnTo>
                <a:cubicBezTo>
                  <a:pt x="1063705" y="894556"/>
                  <a:pt x="1064324" y="903305"/>
                  <a:pt x="1065292" y="912018"/>
                </a:cubicBezTo>
                <a:cubicBezTo>
                  <a:pt x="1065912" y="917596"/>
                  <a:pt x="1067673" y="923074"/>
                  <a:pt x="1067673" y="928687"/>
                </a:cubicBezTo>
                <a:cubicBezTo>
                  <a:pt x="1067673" y="962034"/>
                  <a:pt x="1066740" y="995384"/>
                  <a:pt x="1065292" y="1028700"/>
                </a:cubicBezTo>
                <a:cubicBezTo>
                  <a:pt x="1065150" y="1031970"/>
                  <a:pt x="1063621" y="1035030"/>
                  <a:pt x="1062911" y="1038225"/>
                </a:cubicBezTo>
                <a:cubicBezTo>
                  <a:pt x="1062033" y="1042176"/>
                  <a:pt x="1061324" y="1046162"/>
                  <a:pt x="1060530" y="1050131"/>
                </a:cubicBezTo>
                <a:cubicBezTo>
                  <a:pt x="1059745" y="1076015"/>
                  <a:pt x="1060544" y="1119091"/>
                  <a:pt x="1055767" y="1150143"/>
                </a:cubicBezTo>
                <a:cubicBezTo>
                  <a:pt x="1055269" y="1153378"/>
                  <a:pt x="1053871" y="1156432"/>
                  <a:pt x="1053386" y="1159668"/>
                </a:cubicBezTo>
                <a:cubicBezTo>
                  <a:pt x="1051487" y="1172325"/>
                  <a:pt x="1052670" y="1185626"/>
                  <a:pt x="1048623" y="1197768"/>
                </a:cubicBezTo>
                <a:lnTo>
                  <a:pt x="1043861" y="1212056"/>
                </a:lnTo>
                <a:lnTo>
                  <a:pt x="1041480" y="1219200"/>
                </a:lnTo>
                <a:cubicBezTo>
                  <a:pt x="1042274" y="1232694"/>
                  <a:pt x="1042516" y="1246231"/>
                  <a:pt x="1043861" y="1259681"/>
                </a:cubicBezTo>
                <a:cubicBezTo>
                  <a:pt x="1044887" y="1269944"/>
                  <a:pt x="1052066" y="1270006"/>
                  <a:pt x="1055767" y="1281112"/>
                </a:cubicBezTo>
                <a:cubicBezTo>
                  <a:pt x="1058034" y="1287915"/>
                  <a:pt x="1059036" y="1290313"/>
                  <a:pt x="1060530" y="1297781"/>
                </a:cubicBezTo>
                <a:cubicBezTo>
                  <a:pt x="1065340" y="1321830"/>
                  <a:pt x="1059717" y="1302487"/>
                  <a:pt x="1067673" y="1326356"/>
                </a:cubicBezTo>
                <a:lnTo>
                  <a:pt x="1070055" y="1333500"/>
                </a:lnTo>
                <a:cubicBezTo>
                  <a:pt x="1069372" y="1340327"/>
                  <a:pt x="1069582" y="1355875"/>
                  <a:pt x="1065292" y="1364456"/>
                </a:cubicBezTo>
                <a:cubicBezTo>
                  <a:pt x="1064012" y="1367016"/>
                  <a:pt x="1061692" y="1368985"/>
                  <a:pt x="1060530" y="1371600"/>
                </a:cubicBezTo>
                <a:cubicBezTo>
                  <a:pt x="1058491" y="1376187"/>
                  <a:pt x="1058551" y="1381710"/>
                  <a:pt x="1055767" y="1385887"/>
                </a:cubicBezTo>
                <a:cubicBezTo>
                  <a:pt x="1054180" y="1388268"/>
                  <a:pt x="1052167" y="1390416"/>
                  <a:pt x="1051005" y="1393031"/>
                </a:cubicBezTo>
                <a:cubicBezTo>
                  <a:pt x="1048966" y="1397618"/>
                  <a:pt x="1046242" y="1407318"/>
                  <a:pt x="1046242" y="1407318"/>
                </a:cubicBezTo>
                <a:cubicBezTo>
                  <a:pt x="1047036" y="1424781"/>
                  <a:pt x="1046761" y="1442325"/>
                  <a:pt x="1048623" y="1459706"/>
                </a:cubicBezTo>
                <a:cubicBezTo>
                  <a:pt x="1049158" y="1464697"/>
                  <a:pt x="1051798" y="1469231"/>
                  <a:pt x="1053386" y="1473993"/>
                </a:cubicBezTo>
                <a:lnTo>
                  <a:pt x="1055767" y="1481137"/>
                </a:lnTo>
                <a:cubicBezTo>
                  <a:pt x="1054973" y="1498600"/>
                  <a:pt x="1054549" y="1516083"/>
                  <a:pt x="1053386" y="1533525"/>
                </a:cubicBezTo>
                <a:cubicBezTo>
                  <a:pt x="1053117" y="1537554"/>
                  <a:pt x="1049447" y="1564298"/>
                  <a:pt x="1048623" y="1569243"/>
                </a:cubicBezTo>
                <a:cubicBezTo>
                  <a:pt x="1044459" y="1594227"/>
                  <a:pt x="1048147" y="1569245"/>
                  <a:pt x="1043861" y="1590675"/>
                </a:cubicBezTo>
                <a:cubicBezTo>
                  <a:pt x="1042914" y="1595409"/>
                  <a:pt x="1042274" y="1600200"/>
                  <a:pt x="1041480" y="1604962"/>
                </a:cubicBezTo>
                <a:cubicBezTo>
                  <a:pt x="1040686" y="1620837"/>
                  <a:pt x="1040418" y="1636747"/>
                  <a:pt x="1039098" y="1652587"/>
                </a:cubicBezTo>
                <a:cubicBezTo>
                  <a:pt x="1038826" y="1655848"/>
                  <a:pt x="1037616" y="1658965"/>
                  <a:pt x="1036717" y="1662112"/>
                </a:cubicBezTo>
                <a:cubicBezTo>
                  <a:pt x="1036027" y="1664526"/>
                  <a:pt x="1036425" y="1667864"/>
                  <a:pt x="1034336" y="1669256"/>
                </a:cubicBezTo>
                <a:cubicBezTo>
                  <a:pt x="1030969" y="1671501"/>
                  <a:pt x="1026356" y="1670655"/>
                  <a:pt x="1022430" y="1671637"/>
                </a:cubicBezTo>
                <a:cubicBezTo>
                  <a:pt x="1019995" y="1672246"/>
                  <a:pt x="1017667" y="1673224"/>
                  <a:pt x="1015286" y="1674018"/>
                </a:cubicBezTo>
                <a:cubicBezTo>
                  <a:pt x="1012905" y="1675606"/>
                  <a:pt x="1010166" y="1676757"/>
                  <a:pt x="1008142" y="1678781"/>
                </a:cubicBezTo>
                <a:cubicBezTo>
                  <a:pt x="1002931" y="1683992"/>
                  <a:pt x="1000188" y="1693928"/>
                  <a:pt x="998617" y="1700212"/>
                </a:cubicBezTo>
                <a:cubicBezTo>
                  <a:pt x="997823" y="1703387"/>
                  <a:pt x="996821" y="1706517"/>
                  <a:pt x="996236" y="1709737"/>
                </a:cubicBezTo>
                <a:cubicBezTo>
                  <a:pt x="995232" y="1715259"/>
                  <a:pt x="995117" y="1720937"/>
                  <a:pt x="993855" y="1726406"/>
                </a:cubicBezTo>
                <a:cubicBezTo>
                  <a:pt x="992726" y="1731297"/>
                  <a:pt x="989092" y="1740693"/>
                  <a:pt x="989092" y="1740693"/>
                </a:cubicBezTo>
                <a:cubicBezTo>
                  <a:pt x="985885" y="1759936"/>
                  <a:pt x="988239" y="1750397"/>
                  <a:pt x="981948" y="1769268"/>
                </a:cubicBezTo>
                <a:lnTo>
                  <a:pt x="979567" y="1776412"/>
                </a:lnTo>
                <a:cubicBezTo>
                  <a:pt x="978773" y="1795462"/>
                  <a:pt x="978454" y="1814538"/>
                  <a:pt x="977186" y="1833562"/>
                </a:cubicBezTo>
                <a:cubicBezTo>
                  <a:pt x="976816" y="1839115"/>
                  <a:pt x="973509" y="1853784"/>
                  <a:pt x="972423" y="1859756"/>
                </a:cubicBezTo>
                <a:cubicBezTo>
                  <a:pt x="971007" y="1867541"/>
                  <a:pt x="969622" y="1878107"/>
                  <a:pt x="967661" y="1885950"/>
                </a:cubicBezTo>
                <a:cubicBezTo>
                  <a:pt x="967052" y="1888385"/>
                  <a:pt x="965889" y="1890658"/>
                  <a:pt x="965280" y="1893093"/>
                </a:cubicBezTo>
                <a:cubicBezTo>
                  <a:pt x="960943" y="1910438"/>
                  <a:pt x="964765" y="1900168"/>
                  <a:pt x="960517" y="1919287"/>
                </a:cubicBezTo>
                <a:cubicBezTo>
                  <a:pt x="959973" y="1921737"/>
                  <a:pt x="958930" y="1924050"/>
                  <a:pt x="958136" y="1926431"/>
                </a:cubicBezTo>
                <a:cubicBezTo>
                  <a:pt x="956642" y="1936890"/>
                  <a:pt x="953926" y="1958109"/>
                  <a:pt x="950992" y="1966912"/>
                </a:cubicBezTo>
                <a:lnTo>
                  <a:pt x="946230" y="1981200"/>
                </a:lnTo>
                <a:cubicBezTo>
                  <a:pt x="945436" y="1983581"/>
                  <a:pt x="944457" y="1985908"/>
                  <a:pt x="943848" y="1988343"/>
                </a:cubicBezTo>
                <a:cubicBezTo>
                  <a:pt x="936405" y="2018119"/>
                  <a:pt x="945918" y="1981099"/>
                  <a:pt x="939086" y="2005012"/>
                </a:cubicBezTo>
                <a:cubicBezTo>
                  <a:pt x="938187" y="2008159"/>
                  <a:pt x="937645" y="2011402"/>
                  <a:pt x="936705" y="2014537"/>
                </a:cubicBezTo>
                <a:cubicBezTo>
                  <a:pt x="935262" y="2019346"/>
                  <a:pt x="933530" y="2024062"/>
                  <a:pt x="931942" y="2028825"/>
                </a:cubicBezTo>
                <a:cubicBezTo>
                  <a:pt x="931148" y="2031206"/>
                  <a:pt x="930170" y="2033533"/>
                  <a:pt x="929561" y="2035968"/>
                </a:cubicBezTo>
                <a:lnTo>
                  <a:pt x="927180" y="2045493"/>
                </a:lnTo>
                <a:cubicBezTo>
                  <a:pt x="928479" y="2072772"/>
                  <a:pt x="925757" y="2084409"/>
                  <a:pt x="931942" y="2105025"/>
                </a:cubicBezTo>
                <a:cubicBezTo>
                  <a:pt x="933385" y="2109833"/>
                  <a:pt x="935488" y="2114442"/>
                  <a:pt x="936705" y="2119312"/>
                </a:cubicBezTo>
                <a:lnTo>
                  <a:pt x="941467" y="2138362"/>
                </a:lnTo>
                <a:cubicBezTo>
                  <a:pt x="942261" y="2153443"/>
                  <a:pt x="942540" y="2168561"/>
                  <a:pt x="943848" y="2183606"/>
                </a:cubicBezTo>
                <a:cubicBezTo>
                  <a:pt x="944132" y="2186866"/>
                  <a:pt x="945290" y="2189996"/>
                  <a:pt x="946230" y="2193131"/>
                </a:cubicBezTo>
                <a:cubicBezTo>
                  <a:pt x="947673" y="2197939"/>
                  <a:pt x="950992" y="2207418"/>
                  <a:pt x="950992" y="2207418"/>
                </a:cubicBezTo>
                <a:cubicBezTo>
                  <a:pt x="951786" y="2212181"/>
                  <a:pt x="952639" y="2216934"/>
                  <a:pt x="953373" y="2221706"/>
                </a:cubicBezTo>
                <a:cubicBezTo>
                  <a:pt x="954227" y="2227254"/>
                  <a:pt x="954654" y="2232871"/>
                  <a:pt x="955755" y="2238375"/>
                </a:cubicBezTo>
                <a:cubicBezTo>
                  <a:pt x="956247" y="2240836"/>
                  <a:pt x="957342" y="2243137"/>
                  <a:pt x="958136" y="2245518"/>
                </a:cubicBezTo>
                <a:cubicBezTo>
                  <a:pt x="958930" y="2251074"/>
                  <a:pt x="959255" y="2256718"/>
                  <a:pt x="960517" y="2262187"/>
                </a:cubicBezTo>
                <a:cubicBezTo>
                  <a:pt x="961646" y="2267079"/>
                  <a:pt x="965280" y="2276475"/>
                  <a:pt x="965280" y="2276475"/>
                </a:cubicBezTo>
                <a:cubicBezTo>
                  <a:pt x="964333" y="2289723"/>
                  <a:pt x="968656" y="2306436"/>
                  <a:pt x="958136" y="2316956"/>
                </a:cubicBezTo>
                <a:cubicBezTo>
                  <a:pt x="956112" y="2318980"/>
                  <a:pt x="953753" y="2320965"/>
                  <a:pt x="950992" y="2321718"/>
                </a:cubicBezTo>
                <a:cubicBezTo>
                  <a:pt x="944818" y="2323402"/>
                  <a:pt x="938292" y="2323306"/>
                  <a:pt x="931942" y="2324100"/>
                </a:cubicBezTo>
                <a:cubicBezTo>
                  <a:pt x="916067" y="2323306"/>
                  <a:pt x="900152" y="2323095"/>
                  <a:pt x="884317" y="2321718"/>
                </a:cubicBezTo>
                <a:cubicBezTo>
                  <a:pt x="881816" y="2321501"/>
                  <a:pt x="879418" y="2320459"/>
                  <a:pt x="877173" y="2319337"/>
                </a:cubicBezTo>
                <a:cubicBezTo>
                  <a:pt x="874613" y="2318057"/>
                  <a:pt x="872411" y="2316162"/>
                  <a:pt x="870030" y="2314575"/>
                </a:cubicBezTo>
                <a:cubicBezTo>
                  <a:pt x="868442" y="2312194"/>
                  <a:pt x="867291" y="2309455"/>
                  <a:pt x="865267" y="2307431"/>
                </a:cubicBezTo>
                <a:cubicBezTo>
                  <a:pt x="863243" y="2305407"/>
                  <a:pt x="859911" y="2304903"/>
                  <a:pt x="858123" y="2302668"/>
                </a:cubicBezTo>
                <a:cubicBezTo>
                  <a:pt x="856555" y="2300708"/>
                  <a:pt x="856536" y="2297906"/>
                  <a:pt x="855742" y="2295525"/>
                </a:cubicBezTo>
                <a:cubicBezTo>
                  <a:pt x="854828" y="2290041"/>
                  <a:pt x="853910" y="2279953"/>
                  <a:pt x="850980" y="2274093"/>
                </a:cubicBezTo>
                <a:cubicBezTo>
                  <a:pt x="849700" y="2271533"/>
                  <a:pt x="847805" y="2269331"/>
                  <a:pt x="846217" y="2266950"/>
                </a:cubicBezTo>
                <a:cubicBezTo>
                  <a:pt x="844630" y="2262187"/>
                  <a:pt x="842673" y="2257532"/>
                  <a:pt x="841455" y="2252662"/>
                </a:cubicBezTo>
                <a:cubicBezTo>
                  <a:pt x="839867" y="2246312"/>
                  <a:pt x="838762" y="2239822"/>
                  <a:pt x="836692" y="2233612"/>
                </a:cubicBezTo>
                <a:lnTo>
                  <a:pt x="831930" y="2219325"/>
                </a:lnTo>
                <a:cubicBezTo>
                  <a:pt x="831136" y="2216944"/>
                  <a:pt x="830940" y="2214270"/>
                  <a:pt x="829548" y="2212181"/>
                </a:cubicBezTo>
                <a:cubicBezTo>
                  <a:pt x="823295" y="2202800"/>
                  <a:pt x="823422" y="2204348"/>
                  <a:pt x="820023" y="2190750"/>
                </a:cubicBezTo>
                <a:cubicBezTo>
                  <a:pt x="819229" y="2187575"/>
                  <a:pt x="818284" y="2184434"/>
                  <a:pt x="817642" y="2181225"/>
                </a:cubicBezTo>
                <a:cubicBezTo>
                  <a:pt x="816695" y="2176490"/>
                  <a:pt x="816308" y="2171650"/>
                  <a:pt x="815261" y="2166937"/>
                </a:cubicBezTo>
                <a:cubicBezTo>
                  <a:pt x="814717" y="2164487"/>
                  <a:pt x="814655" y="2161568"/>
                  <a:pt x="812880" y="2159793"/>
                </a:cubicBezTo>
                <a:cubicBezTo>
                  <a:pt x="808833" y="2155746"/>
                  <a:pt x="803355" y="2153443"/>
                  <a:pt x="798592" y="2150268"/>
                </a:cubicBezTo>
                <a:cubicBezTo>
                  <a:pt x="796211" y="2148681"/>
                  <a:pt x="793472" y="2147530"/>
                  <a:pt x="791448" y="2145506"/>
                </a:cubicBezTo>
                <a:cubicBezTo>
                  <a:pt x="782281" y="2136338"/>
                  <a:pt x="786173" y="2141164"/>
                  <a:pt x="779542" y="2131218"/>
                </a:cubicBezTo>
                <a:cubicBezTo>
                  <a:pt x="775357" y="2118664"/>
                  <a:pt x="779927" y="2128824"/>
                  <a:pt x="770017" y="2116931"/>
                </a:cubicBezTo>
                <a:cubicBezTo>
                  <a:pt x="760096" y="2105025"/>
                  <a:pt x="771208" y="2113755"/>
                  <a:pt x="758111" y="2105025"/>
                </a:cubicBezTo>
                <a:cubicBezTo>
                  <a:pt x="754936" y="2100262"/>
                  <a:pt x="750396" y="2096167"/>
                  <a:pt x="748586" y="2090737"/>
                </a:cubicBezTo>
                <a:lnTo>
                  <a:pt x="743823" y="2076450"/>
                </a:lnTo>
                <a:cubicBezTo>
                  <a:pt x="744617" y="2062956"/>
                  <a:pt x="741532" y="2048652"/>
                  <a:pt x="746205" y="2035968"/>
                </a:cubicBezTo>
                <a:cubicBezTo>
                  <a:pt x="746793" y="2034372"/>
                  <a:pt x="766577" y="2029685"/>
                  <a:pt x="770017" y="2028825"/>
                </a:cubicBezTo>
                <a:cubicBezTo>
                  <a:pt x="779169" y="2022724"/>
                  <a:pt x="784889" y="2021557"/>
                  <a:pt x="789067" y="2012156"/>
                </a:cubicBezTo>
                <a:cubicBezTo>
                  <a:pt x="791106" y="2007568"/>
                  <a:pt x="791045" y="2002045"/>
                  <a:pt x="793830" y="1997868"/>
                </a:cubicBezTo>
                <a:lnTo>
                  <a:pt x="803355" y="1983581"/>
                </a:lnTo>
                <a:cubicBezTo>
                  <a:pt x="804149" y="1981200"/>
                  <a:pt x="805046" y="1978851"/>
                  <a:pt x="805736" y="1976437"/>
                </a:cubicBezTo>
                <a:cubicBezTo>
                  <a:pt x="814853" y="1944525"/>
                  <a:pt x="808249" y="1931319"/>
                  <a:pt x="805736" y="1883568"/>
                </a:cubicBezTo>
                <a:cubicBezTo>
                  <a:pt x="805604" y="1881062"/>
                  <a:pt x="803900" y="1878875"/>
                  <a:pt x="803355" y="1876425"/>
                </a:cubicBezTo>
                <a:cubicBezTo>
                  <a:pt x="791664" y="1823824"/>
                  <a:pt x="808089" y="1890602"/>
                  <a:pt x="798592" y="1852612"/>
                </a:cubicBezTo>
                <a:cubicBezTo>
                  <a:pt x="800144" y="1806042"/>
                  <a:pt x="797842" y="1797581"/>
                  <a:pt x="803355" y="1764506"/>
                </a:cubicBezTo>
                <a:cubicBezTo>
                  <a:pt x="804020" y="1760514"/>
                  <a:pt x="805105" y="1756598"/>
                  <a:pt x="805736" y="1752600"/>
                </a:cubicBezTo>
                <a:cubicBezTo>
                  <a:pt x="807487" y="1741512"/>
                  <a:pt x="810498" y="1719262"/>
                  <a:pt x="810498" y="1719262"/>
                </a:cubicBezTo>
                <a:cubicBezTo>
                  <a:pt x="809704" y="1709737"/>
                  <a:pt x="810743" y="1699877"/>
                  <a:pt x="808117" y="1690687"/>
                </a:cubicBezTo>
                <a:cubicBezTo>
                  <a:pt x="807331" y="1687935"/>
                  <a:pt x="803588" y="1687087"/>
                  <a:pt x="800973" y="1685925"/>
                </a:cubicBezTo>
                <a:cubicBezTo>
                  <a:pt x="796386" y="1683886"/>
                  <a:pt x="786686" y="1681162"/>
                  <a:pt x="786686" y="1681162"/>
                </a:cubicBezTo>
                <a:cubicBezTo>
                  <a:pt x="783511" y="1676400"/>
                  <a:pt x="777793" y="1672564"/>
                  <a:pt x="777161" y="1666875"/>
                </a:cubicBezTo>
                <a:cubicBezTo>
                  <a:pt x="776013" y="1656542"/>
                  <a:pt x="774776" y="1641855"/>
                  <a:pt x="772398" y="1631156"/>
                </a:cubicBezTo>
                <a:cubicBezTo>
                  <a:pt x="770004" y="1620383"/>
                  <a:pt x="770393" y="1627143"/>
                  <a:pt x="765255" y="1616868"/>
                </a:cubicBezTo>
                <a:cubicBezTo>
                  <a:pt x="764132" y="1614623"/>
                  <a:pt x="763667" y="1612106"/>
                  <a:pt x="762873" y="1609725"/>
                </a:cubicBezTo>
                <a:cubicBezTo>
                  <a:pt x="763667" y="1606550"/>
                  <a:pt x="764356" y="1603347"/>
                  <a:pt x="765255" y="1600200"/>
                </a:cubicBezTo>
                <a:cubicBezTo>
                  <a:pt x="765945" y="1597786"/>
                  <a:pt x="767348" y="1595550"/>
                  <a:pt x="767636" y="1593056"/>
                </a:cubicBezTo>
                <a:cubicBezTo>
                  <a:pt x="769736" y="1574852"/>
                  <a:pt x="766602" y="1555672"/>
                  <a:pt x="772398" y="1538287"/>
                </a:cubicBezTo>
                <a:lnTo>
                  <a:pt x="777161" y="1524000"/>
                </a:lnTo>
                <a:lnTo>
                  <a:pt x="779542" y="1516856"/>
                </a:lnTo>
                <a:cubicBezTo>
                  <a:pt x="780336" y="1508125"/>
                  <a:pt x="781923" y="1499429"/>
                  <a:pt x="781923" y="1490662"/>
                </a:cubicBezTo>
                <a:cubicBezTo>
                  <a:pt x="781923" y="1487389"/>
                  <a:pt x="780831" y="1497179"/>
                  <a:pt x="779542" y="1500187"/>
                </a:cubicBezTo>
                <a:cubicBezTo>
                  <a:pt x="778415" y="1502818"/>
                  <a:pt x="776060" y="1504771"/>
                  <a:pt x="774780" y="1507331"/>
                </a:cubicBezTo>
                <a:cubicBezTo>
                  <a:pt x="773657" y="1509576"/>
                  <a:pt x="774173" y="1512700"/>
                  <a:pt x="772398" y="1514475"/>
                </a:cubicBezTo>
                <a:cubicBezTo>
                  <a:pt x="768351" y="1518522"/>
                  <a:pt x="762159" y="1519953"/>
                  <a:pt x="758111" y="1524000"/>
                </a:cubicBezTo>
                <a:cubicBezTo>
                  <a:pt x="755730" y="1526381"/>
                  <a:pt x="753625" y="1529076"/>
                  <a:pt x="750967" y="1531143"/>
                </a:cubicBezTo>
                <a:cubicBezTo>
                  <a:pt x="746449" y="1534657"/>
                  <a:pt x="736680" y="1540668"/>
                  <a:pt x="736680" y="1540668"/>
                </a:cubicBezTo>
                <a:cubicBezTo>
                  <a:pt x="735092" y="1543049"/>
                  <a:pt x="733941" y="1545788"/>
                  <a:pt x="731917" y="1547812"/>
                </a:cubicBezTo>
                <a:cubicBezTo>
                  <a:pt x="727300" y="1552429"/>
                  <a:pt x="723441" y="1553019"/>
                  <a:pt x="717630" y="1554956"/>
                </a:cubicBezTo>
                <a:cubicBezTo>
                  <a:pt x="715249" y="1557337"/>
                  <a:pt x="713144" y="1560032"/>
                  <a:pt x="710486" y="1562100"/>
                </a:cubicBezTo>
                <a:cubicBezTo>
                  <a:pt x="705968" y="1565614"/>
                  <a:pt x="696198" y="1571625"/>
                  <a:pt x="696198" y="1571625"/>
                </a:cubicBezTo>
                <a:cubicBezTo>
                  <a:pt x="687400" y="1584822"/>
                  <a:pt x="696470" y="1574384"/>
                  <a:pt x="684292" y="1581150"/>
                </a:cubicBezTo>
                <a:cubicBezTo>
                  <a:pt x="679289" y="1583930"/>
                  <a:pt x="674767" y="1587500"/>
                  <a:pt x="670005" y="1590675"/>
                </a:cubicBezTo>
                <a:cubicBezTo>
                  <a:pt x="667624" y="1592262"/>
                  <a:pt x="664885" y="1593413"/>
                  <a:pt x="662861" y="1595437"/>
                </a:cubicBezTo>
                <a:lnTo>
                  <a:pt x="655717" y="1602581"/>
                </a:lnTo>
                <a:lnTo>
                  <a:pt x="650955" y="1616868"/>
                </a:lnTo>
                <a:cubicBezTo>
                  <a:pt x="648569" y="1624025"/>
                  <a:pt x="648938" y="1625004"/>
                  <a:pt x="643811" y="1631156"/>
                </a:cubicBezTo>
                <a:cubicBezTo>
                  <a:pt x="641655" y="1633743"/>
                  <a:pt x="639591" y="1636629"/>
                  <a:pt x="636667" y="1638300"/>
                </a:cubicBezTo>
                <a:cubicBezTo>
                  <a:pt x="633825" y="1639924"/>
                  <a:pt x="630317" y="1639887"/>
                  <a:pt x="627142" y="1640681"/>
                </a:cubicBezTo>
                <a:cubicBezTo>
                  <a:pt x="625555" y="1643062"/>
                  <a:pt x="624807" y="1646308"/>
                  <a:pt x="622380" y="1647825"/>
                </a:cubicBezTo>
                <a:cubicBezTo>
                  <a:pt x="618123" y="1650486"/>
                  <a:pt x="608092" y="1652587"/>
                  <a:pt x="608092" y="1652587"/>
                </a:cubicBezTo>
                <a:cubicBezTo>
                  <a:pt x="590354" y="1664413"/>
                  <a:pt x="612140" y="1649214"/>
                  <a:pt x="593805" y="1664493"/>
                </a:cubicBezTo>
                <a:cubicBezTo>
                  <a:pt x="583588" y="1673007"/>
                  <a:pt x="589003" y="1665017"/>
                  <a:pt x="579517" y="1676400"/>
                </a:cubicBezTo>
                <a:cubicBezTo>
                  <a:pt x="577685" y="1678598"/>
                  <a:pt x="576953" y="1681711"/>
                  <a:pt x="574755" y="1683543"/>
                </a:cubicBezTo>
                <a:cubicBezTo>
                  <a:pt x="572028" y="1685816"/>
                  <a:pt x="568274" y="1686480"/>
                  <a:pt x="565230" y="1688306"/>
                </a:cubicBezTo>
                <a:cubicBezTo>
                  <a:pt x="560322" y="1691251"/>
                  <a:pt x="555705" y="1694656"/>
                  <a:pt x="550942" y="1697831"/>
                </a:cubicBezTo>
                <a:cubicBezTo>
                  <a:pt x="548561" y="1699418"/>
                  <a:pt x="546513" y="1701688"/>
                  <a:pt x="543798" y="1702593"/>
                </a:cubicBezTo>
                <a:lnTo>
                  <a:pt x="536655" y="1704975"/>
                </a:lnTo>
                <a:cubicBezTo>
                  <a:pt x="534274" y="1707356"/>
                  <a:pt x="532251" y="1710161"/>
                  <a:pt x="529511" y="1712118"/>
                </a:cubicBezTo>
                <a:cubicBezTo>
                  <a:pt x="526622" y="1714181"/>
                  <a:pt x="522713" y="1714608"/>
                  <a:pt x="519986" y="1716881"/>
                </a:cubicBezTo>
                <a:cubicBezTo>
                  <a:pt x="505626" y="1728848"/>
                  <a:pt x="525133" y="1720722"/>
                  <a:pt x="508080" y="1726406"/>
                </a:cubicBezTo>
                <a:lnTo>
                  <a:pt x="484267" y="1762125"/>
                </a:lnTo>
                <a:cubicBezTo>
                  <a:pt x="482680" y="1764506"/>
                  <a:pt x="480785" y="1766709"/>
                  <a:pt x="479505" y="1769268"/>
                </a:cubicBezTo>
                <a:cubicBezTo>
                  <a:pt x="477917" y="1772443"/>
                  <a:pt x="476805" y="1775904"/>
                  <a:pt x="474742" y="1778793"/>
                </a:cubicBezTo>
                <a:cubicBezTo>
                  <a:pt x="470575" y="1784626"/>
                  <a:pt x="466150" y="1786902"/>
                  <a:pt x="460455" y="1790700"/>
                </a:cubicBezTo>
                <a:cubicBezTo>
                  <a:pt x="449538" y="1807076"/>
                  <a:pt x="456360" y="1803177"/>
                  <a:pt x="443786" y="1807368"/>
                </a:cubicBezTo>
                <a:cubicBezTo>
                  <a:pt x="439023" y="1810543"/>
                  <a:pt x="435051" y="1815504"/>
                  <a:pt x="429498" y="1816893"/>
                </a:cubicBezTo>
                <a:cubicBezTo>
                  <a:pt x="427259" y="1817453"/>
                  <a:pt x="415623" y="1820104"/>
                  <a:pt x="412830" y="1821656"/>
                </a:cubicBezTo>
                <a:cubicBezTo>
                  <a:pt x="400012" y="1828777"/>
                  <a:pt x="400076" y="1829647"/>
                  <a:pt x="391398" y="1838325"/>
                </a:cubicBezTo>
                <a:cubicBezTo>
                  <a:pt x="387213" y="1850879"/>
                  <a:pt x="391783" y="1840719"/>
                  <a:pt x="381873" y="1852612"/>
                </a:cubicBezTo>
                <a:cubicBezTo>
                  <a:pt x="380041" y="1854811"/>
                  <a:pt x="379346" y="1857968"/>
                  <a:pt x="377111" y="1859756"/>
                </a:cubicBezTo>
                <a:cubicBezTo>
                  <a:pt x="375151" y="1861324"/>
                  <a:pt x="372348" y="1861343"/>
                  <a:pt x="369967" y="1862137"/>
                </a:cubicBezTo>
                <a:cubicBezTo>
                  <a:pt x="368380" y="1864518"/>
                  <a:pt x="367359" y="1867396"/>
                  <a:pt x="365205" y="1869281"/>
                </a:cubicBezTo>
                <a:cubicBezTo>
                  <a:pt x="360897" y="1873050"/>
                  <a:pt x="355680" y="1875631"/>
                  <a:pt x="350917" y="1878806"/>
                </a:cubicBezTo>
                <a:cubicBezTo>
                  <a:pt x="348536" y="1880393"/>
                  <a:pt x="345797" y="1881544"/>
                  <a:pt x="343773" y="1883568"/>
                </a:cubicBezTo>
                <a:cubicBezTo>
                  <a:pt x="339011" y="1888331"/>
                  <a:pt x="333222" y="1892252"/>
                  <a:pt x="329486" y="1897856"/>
                </a:cubicBezTo>
                <a:cubicBezTo>
                  <a:pt x="322855" y="1907802"/>
                  <a:pt x="326747" y="1902976"/>
                  <a:pt x="317580" y="1912143"/>
                </a:cubicBezTo>
                <a:cubicBezTo>
                  <a:pt x="316786" y="1914524"/>
                  <a:pt x="316417" y="1917093"/>
                  <a:pt x="315198" y="1919287"/>
                </a:cubicBezTo>
                <a:cubicBezTo>
                  <a:pt x="312418" y="1924291"/>
                  <a:pt x="305673" y="1933575"/>
                  <a:pt x="305673" y="1933575"/>
                </a:cubicBezTo>
                <a:cubicBezTo>
                  <a:pt x="304879" y="1935956"/>
                  <a:pt x="303981" y="1938305"/>
                  <a:pt x="303292" y="1940718"/>
                </a:cubicBezTo>
                <a:cubicBezTo>
                  <a:pt x="302393" y="1943865"/>
                  <a:pt x="302060" y="1947179"/>
                  <a:pt x="300911" y="1950243"/>
                </a:cubicBezTo>
                <a:cubicBezTo>
                  <a:pt x="299665" y="1953567"/>
                  <a:pt x="297546" y="1956505"/>
                  <a:pt x="296148" y="1959768"/>
                </a:cubicBezTo>
                <a:cubicBezTo>
                  <a:pt x="295159" y="1962075"/>
                  <a:pt x="294889" y="1964667"/>
                  <a:pt x="293767" y="1966912"/>
                </a:cubicBezTo>
                <a:cubicBezTo>
                  <a:pt x="292487" y="1969472"/>
                  <a:pt x="290285" y="1971496"/>
                  <a:pt x="289005" y="1974056"/>
                </a:cubicBezTo>
                <a:cubicBezTo>
                  <a:pt x="287882" y="1976301"/>
                  <a:pt x="287842" y="1979006"/>
                  <a:pt x="286623" y="1981200"/>
                </a:cubicBezTo>
                <a:cubicBezTo>
                  <a:pt x="283843" y="1986203"/>
                  <a:pt x="277098" y="1995487"/>
                  <a:pt x="277098" y="1995487"/>
                </a:cubicBezTo>
                <a:cubicBezTo>
                  <a:pt x="271117" y="2013434"/>
                  <a:pt x="279182" y="1991321"/>
                  <a:pt x="269955" y="2009775"/>
                </a:cubicBezTo>
                <a:cubicBezTo>
                  <a:pt x="268832" y="2012020"/>
                  <a:pt x="268792" y="2014724"/>
                  <a:pt x="267573" y="2016918"/>
                </a:cubicBezTo>
                <a:cubicBezTo>
                  <a:pt x="264793" y="2021922"/>
                  <a:pt x="258048" y="2031206"/>
                  <a:pt x="258048" y="2031206"/>
                </a:cubicBezTo>
                <a:lnTo>
                  <a:pt x="248523" y="2059781"/>
                </a:lnTo>
                <a:cubicBezTo>
                  <a:pt x="247729" y="2062162"/>
                  <a:pt x="247534" y="2064836"/>
                  <a:pt x="246142" y="2066925"/>
                </a:cubicBezTo>
                <a:cubicBezTo>
                  <a:pt x="244555" y="2069306"/>
                  <a:pt x="242660" y="2071509"/>
                  <a:pt x="241380" y="2074068"/>
                </a:cubicBezTo>
                <a:cubicBezTo>
                  <a:pt x="231518" y="2093790"/>
                  <a:pt x="247886" y="2067878"/>
                  <a:pt x="234236" y="2088356"/>
                </a:cubicBezTo>
                <a:cubicBezTo>
                  <a:pt x="233472" y="2091414"/>
                  <a:pt x="231183" y="2101605"/>
                  <a:pt x="229473" y="2105025"/>
                </a:cubicBezTo>
                <a:cubicBezTo>
                  <a:pt x="228193" y="2107584"/>
                  <a:pt x="226298" y="2109787"/>
                  <a:pt x="224711" y="2112168"/>
                </a:cubicBezTo>
                <a:cubicBezTo>
                  <a:pt x="223123" y="2116931"/>
                  <a:pt x="220773" y="2121504"/>
                  <a:pt x="219948" y="2126456"/>
                </a:cubicBezTo>
                <a:cubicBezTo>
                  <a:pt x="218340" y="2136107"/>
                  <a:pt x="217849" y="2141390"/>
                  <a:pt x="215186" y="2150268"/>
                </a:cubicBezTo>
                <a:cubicBezTo>
                  <a:pt x="213743" y="2155077"/>
                  <a:pt x="213208" y="2160379"/>
                  <a:pt x="210423" y="2164556"/>
                </a:cubicBezTo>
                <a:cubicBezTo>
                  <a:pt x="207248" y="2169318"/>
                  <a:pt x="206328" y="2177033"/>
                  <a:pt x="200898" y="2178843"/>
                </a:cubicBezTo>
                <a:cubicBezTo>
                  <a:pt x="196136" y="2180431"/>
                  <a:pt x="190788" y="2180821"/>
                  <a:pt x="186611" y="2183606"/>
                </a:cubicBezTo>
                <a:cubicBezTo>
                  <a:pt x="170235" y="2194523"/>
                  <a:pt x="177753" y="2191321"/>
                  <a:pt x="165180" y="2195512"/>
                </a:cubicBezTo>
                <a:cubicBezTo>
                  <a:pt x="150892" y="2194718"/>
                  <a:pt x="136562" y="2194488"/>
                  <a:pt x="122317" y="2193131"/>
                </a:cubicBezTo>
                <a:cubicBezTo>
                  <a:pt x="119818" y="2192893"/>
                  <a:pt x="117587" y="2191440"/>
                  <a:pt x="115173" y="2190750"/>
                </a:cubicBezTo>
                <a:cubicBezTo>
                  <a:pt x="112026" y="2189851"/>
                  <a:pt x="108823" y="2189162"/>
                  <a:pt x="105648" y="2188368"/>
                </a:cubicBezTo>
                <a:cubicBezTo>
                  <a:pt x="103267" y="2186781"/>
                  <a:pt x="100022" y="2186033"/>
                  <a:pt x="98505" y="2183606"/>
                </a:cubicBezTo>
                <a:cubicBezTo>
                  <a:pt x="95844" y="2179349"/>
                  <a:pt x="93742" y="2169318"/>
                  <a:pt x="93742" y="2169318"/>
                </a:cubicBezTo>
                <a:cubicBezTo>
                  <a:pt x="93270" y="2165069"/>
                  <a:pt x="88980" y="2127171"/>
                  <a:pt x="88980" y="2124075"/>
                </a:cubicBezTo>
                <a:cubicBezTo>
                  <a:pt x="88980" y="2091521"/>
                  <a:pt x="89916" y="2058965"/>
                  <a:pt x="91361" y="2026443"/>
                </a:cubicBezTo>
                <a:cubicBezTo>
                  <a:pt x="91502" y="2023279"/>
                  <a:pt x="98011" y="2002796"/>
                  <a:pt x="98505" y="2002631"/>
                </a:cubicBezTo>
                <a:lnTo>
                  <a:pt x="105648" y="2000250"/>
                </a:lnTo>
                <a:cubicBezTo>
                  <a:pt x="108029" y="1997869"/>
                  <a:pt x="110924" y="1995908"/>
                  <a:pt x="112792" y="1993106"/>
                </a:cubicBezTo>
                <a:cubicBezTo>
                  <a:pt x="114184" y="1991017"/>
                  <a:pt x="113605" y="1987922"/>
                  <a:pt x="115173" y="1985962"/>
                </a:cubicBezTo>
                <a:cubicBezTo>
                  <a:pt x="116961" y="1983727"/>
                  <a:pt x="119936" y="1982787"/>
                  <a:pt x="122317" y="1981200"/>
                </a:cubicBezTo>
                <a:cubicBezTo>
                  <a:pt x="123111" y="1978819"/>
                  <a:pt x="123130" y="1976016"/>
                  <a:pt x="124698" y="1974056"/>
                </a:cubicBezTo>
                <a:cubicBezTo>
                  <a:pt x="126486" y="1971821"/>
                  <a:pt x="129643" y="1971125"/>
                  <a:pt x="131842" y="1969293"/>
                </a:cubicBezTo>
                <a:cubicBezTo>
                  <a:pt x="134429" y="1967137"/>
                  <a:pt x="136605" y="1964531"/>
                  <a:pt x="138986" y="1962150"/>
                </a:cubicBezTo>
                <a:cubicBezTo>
                  <a:pt x="144445" y="1945770"/>
                  <a:pt x="136978" y="1965664"/>
                  <a:pt x="148511" y="1945481"/>
                </a:cubicBezTo>
                <a:cubicBezTo>
                  <a:pt x="151158" y="1940848"/>
                  <a:pt x="151285" y="1933450"/>
                  <a:pt x="153273" y="1928812"/>
                </a:cubicBezTo>
                <a:cubicBezTo>
                  <a:pt x="154400" y="1926181"/>
                  <a:pt x="156616" y="1924153"/>
                  <a:pt x="158036" y="1921668"/>
                </a:cubicBezTo>
                <a:cubicBezTo>
                  <a:pt x="159797" y="1918586"/>
                  <a:pt x="161400" y="1915406"/>
                  <a:pt x="162798" y="1912143"/>
                </a:cubicBezTo>
                <a:cubicBezTo>
                  <a:pt x="163787" y="1909836"/>
                  <a:pt x="163961" y="1907194"/>
                  <a:pt x="165180" y="1905000"/>
                </a:cubicBezTo>
                <a:cubicBezTo>
                  <a:pt x="167960" y="1899996"/>
                  <a:pt x="171530" y="1895475"/>
                  <a:pt x="174705" y="1890712"/>
                </a:cubicBezTo>
                <a:cubicBezTo>
                  <a:pt x="176292" y="1888331"/>
                  <a:pt x="177086" y="1885155"/>
                  <a:pt x="179467" y="1883568"/>
                </a:cubicBezTo>
                <a:cubicBezTo>
                  <a:pt x="181848" y="1881981"/>
                  <a:pt x="184412" y="1880638"/>
                  <a:pt x="186611" y="1878806"/>
                </a:cubicBezTo>
                <a:cubicBezTo>
                  <a:pt x="204951" y="1863523"/>
                  <a:pt x="183159" y="1878726"/>
                  <a:pt x="200898" y="1866900"/>
                </a:cubicBezTo>
                <a:cubicBezTo>
                  <a:pt x="202455" y="1864564"/>
                  <a:pt x="214040" y="1846614"/>
                  <a:pt x="217567" y="1843087"/>
                </a:cubicBezTo>
                <a:cubicBezTo>
                  <a:pt x="219591" y="1841063"/>
                  <a:pt x="222512" y="1840157"/>
                  <a:pt x="224711" y="1838325"/>
                </a:cubicBezTo>
                <a:cubicBezTo>
                  <a:pt x="227298" y="1836169"/>
                  <a:pt x="229474" y="1833562"/>
                  <a:pt x="231855" y="1831181"/>
                </a:cubicBezTo>
                <a:cubicBezTo>
                  <a:pt x="234579" y="1823007"/>
                  <a:pt x="234171" y="1821721"/>
                  <a:pt x="241380" y="1814512"/>
                </a:cubicBezTo>
                <a:cubicBezTo>
                  <a:pt x="243403" y="1812489"/>
                  <a:pt x="246142" y="1811337"/>
                  <a:pt x="248523" y="1809750"/>
                </a:cubicBezTo>
                <a:cubicBezTo>
                  <a:pt x="251735" y="1804933"/>
                  <a:pt x="254963" y="1801449"/>
                  <a:pt x="255667" y="1795462"/>
                </a:cubicBezTo>
                <a:cubicBezTo>
                  <a:pt x="260283" y="1756224"/>
                  <a:pt x="251346" y="1772177"/>
                  <a:pt x="262811" y="1754981"/>
                </a:cubicBezTo>
                <a:cubicBezTo>
                  <a:pt x="264170" y="1748187"/>
                  <a:pt x="265556" y="1740273"/>
                  <a:pt x="267573" y="1733550"/>
                </a:cubicBezTo>
                <a:cubicBezTo>
                  <a:pt x="269016" y="1728741"/>
                  <a:pt x="270748" y="1724025"/>
                  <a:pt x="272336" y="1719262"/>
                </a:cubicBezTo>
                <a:cubicBezTo>
                  <a:pt x="274433" y="1712972"/>
                  <a:pt x="278099" y="1699878"/>
                  <a:pt x="284242" y="1697831"/>
                </a:cubicBezTo>
                <a:lnTo>
                  <a:pt x="291386" y="1695450"/>
                </a:lnTo>
                <a:cubicBezTo>
                  <a:pt x="299756" y="1682893"/>
                  <a:pt x="291321" y="1692076"/>
                  <a:pt x="305673" y="1685925"/>
                </a:cubicBezTo>
                <a:cubicBezTo>
                  <a:pt x="308304" y="1684798"/>
                  <a:pt x="310257" y="1682442"/>
                  <a:pt x="312817" y="1681162"/>
                </a:cubicBezTo>
                <a:cubicBezTo>
                  <a:pt x="315062" y="1680039"/>
                  <a:pt x="317580" y="1679575"/>
                  <a:pt x="319961" y="1678781"/>
                </a:cubicBezTo>
                <a:cubicBezTo>
                  <a:pt x="321671" y="1671942"/>
                  <a:pt x="324204" y="1660770"/>
                  <a:pt x="327105" y="1654968"/>
                </a:cubicBezTo>
                <a:cubicBezTo>
                  <a:pt x="328692" y="1651793"/>
                  <a:pt x="330106" y="1648525"/>
                  <a:pt x="331867" y="1645443"/>
                </a:cubicBezTo>
                <a:cubicBezTo>
                  <a:pt x="333287" y="1642958"/>
                  <a:pt x="334798" y="1640498"/>
                  <a:pt x="336630" y="1638300"/>
                </a:cubicBezTo>
                <a:cubicBezTo>
                  <a:pt x="338786" y="1635713"/>
                  <a:pt x="341392" y="1633537"/>
                  <a:pt x="343773" y="1631156"/>
                </a:cubicBezTo>
                <a:cubicBezTo>
                  <a:pt x="348580" y="1616737"/>
                  <a:pt x="346199" y="1615256"/>
                  <a:pt x="360442" y="1607343"/>
                </a:cubicBezTo>
                <a:cubicBezTo>
                  <a:pt x="363303" y="1605754"/>
                  <a:pt x="366792" y="1605756"/>
                  <a:pt x="369967" y="1604962"/>
                </a:cubicBezTo>
                <a:cubicBezTo>
                  <a:pt x="371555" y="1602581"/>
                  <a:pt x="372495" y="1599606"/>
                  <a:pt x="374730" y="1597818"/>
                </a:cubicBezTo>
                <a:cubicBezTo>
                  <a:pt x="376690" y="1596250"/>
                  <a:pt x="380098" y="1597212"/>
                  <a:pt x="381873" y="1595437"/>
                </a:cubicBezTo>
                <a:cubicBezTo>
                  <a:pt x="385920" y="1591390"/>
                  <a:pt x="388223" y="1585912"/>
                  <a:pt x="391398" y="1581150"/>
                </a:cubicBezTo>
                <a:lnTo>
                  <a:pt x="396161" y="1574006"/>
                </a:lnTo>
                <a:cubicBezTo>
                  <a:pt x="398098" y="1568194"/>
                  <a:pt x="398688" y="1564335"/>
                  <a:pt x="403305" y="1559718"/>
                </a:cubicBezTo>
                <a:cubicBezTo>
                  <a:pt x="405328" y="1557695"/>
                  <a:pt x="408067" y="1556543"/>
                  <a:pt x="410448" y="1554956"/>
                </a:cubicBezTo>
                <a:cubicBezTo>
                  <a:pt x="411242" y="1552575"/>
                  <a:pt x="411611" y="1550006"/>
                  <a:pt x="412830" y="1547812"/>
                </a:cubicBezTo>
                <a:cubicBezTo>
                  <a:pt x="415610" y="1542809"/>
                  <a:pt x="422355" y="1533525"/>
                  <a:pt x="422355" y="1533525"/>
                </a:cubicBezTo>
                <a:lnTo>
                  <a:pt x="427117" y="1519237"/>
                </a:lnTo>
                <a:lnTo>
                  <a:pt x="429498" y="1512093"/>
                </a:lnTo>
                <a:cubicBezTo>
                  <a:pt x="428704" y="1499393"/>
                  <a:pt x="428449" y="1486648"/>
                  <a:pt x="427117" y="1473993"/>
                </a:cubicBezTo>
                <a:cubicBezTo>
                  <a:pt x="424546" y="1449564"/>
                  <a:pt x="407533" y="1497719"/>
                  <a:pt x="427117" y="1431131"/>
                </a:cubicBezTo>
                <a:cubicBezTo>
                  <a:pt x="428119" y="1427725"/>
                  <a:pt x="433467" y="1427956"/>
                  <a:pt x="436642" y="1426368"/>
                </a:cubicBezTo>
                <a:lnTo>
                  <a:pt x="446167" y="1412081"/>
                </a:lnTo>
                <a:cubicBezTo>
                  <a:pt x="447755" y="1409700"/>
                  <a:pt x="449213" y="1407227"/>
                  <a:pt x="450930" y="1404937"/>
                </a:cubicBezTo>
                <a:cubicBezTo>
                  <a:pt x="453311" y="1401762"/>
                  <a:pt x="454771" y="1397613"/>
                  <a:pt x="458073" y="1395412"/>
                </a:cubicBezTo>
                <a:cubicBezTo>
                  <a:pt x="462250" y="1392627"/>
                  <a:pt x="472361" y="1390650"/>
                  <a:pt x="472361" y="1390650"/>
                </a:cubicBezTo>
                <a:cubicBezTo>
                  <a:pt x="473948" y="1385887"/>
                  <a:pt x="472360" y="1377949"/>
                  <a:pt x="477123" y="1376362"/>
                </a:cubicBezTo>
                <a:lnTo>
                  <a:pt x="491411" y="1371600"/>
                </a:lnTo>
                <a:cubicBezTo>
                  <a:pt x="493792" y="1369219"/>
                  <a:pt x="496487" y="1367114"/>
                  <a:pt x="498555" y="1364456"/>
                </a:cubicBezTo>
                <a:cubicBezTo>
                  <a:pt x="504655" y="1356613"/>
                  <a:pt x="505823" y="1348931"/>
                  <a:pt x="515223" y="1345406"/>
                </a:cubicBezTo>
                <a:cubicBezTo>
                  <a:pt x="519013" y="1343985"/>
                  <a:pt x="523203" y="1344007"/>
                  <a:pt x="527130" y="1343025"/>
                </a:cubicBezTo>
                <a:cubicBezTo>
                  <a:pt x="529565" y="1342416"/>
                  <a:pt x="531892" y="1341437"/>
                  <a:pt x="534273" y="1340643"/>
                </a:cubicBezTo>
                <a:cubicBezTo>
                  <a:pt x="535067" y="1338262"/>
                  <a:pt x="535436" y="1335694"/>
                  <a:pt x="536655" y="1333500"/>
                </a:cubicBezTo>
                <a:cubicBezTo>
                  <a:pt x="539435" y="1328496"/>
                  <a:pt x="546180" y="1319212"/>
                  <a:pt x="546180" y="1319212"/>
                </a:cubicBezTo>
                <a:cubicBezTo>
                  <a:pt x="546974" y="1316831"/>
                  <a:pt x="546993" y="1314028"/>
                  <a:pt x="548561" y="1312068"/>
                </a:cubicBezTo>
                <a:cubicBezTo>
                  <a:pt x="555732" y="1303104"/>
                  <a:pt x="575118" y="1305541"/>
                  <a:pt x="581898" y="1304925"/>
                </a:cubicBezTo>
                <a:cubicBezTo>
                  <a:pt x="582692" y="1289844"/>
                  <a:pt x="582972" y="1274726"/>
                  <a:pt x="584280" y="1259681"/>
                </a:cubicBezTo>
                <a:cubicBezTo>
                  <a:pt x="584564" y="1256421"/>
                  <a:pt x="586163" y="1253391"/>
                  <a:pt x="586661" y="1250156"/>
                </a:cubicBezTo>
                <a:cubicBezTo>
                  <a:pt x="587754" y="1243052"/>
                  <a:pt x="588327" y="1235877"/>
                  <a:pt x="589042" y="1228725"/>
                </a:cubicBezTo>
                <a:cubicBezTo>
                  <a:pt x="589914" y="1220001"/>
                  <a:pt x="590183" y="1211210"/>
                  <a:pt x="591423" y="1202531"/>
                </a:cubicBezTo>
                <a:cubicBezTo>
                  <a:pt x="591778" y="1200046"/>
                  <a:pt x="591845" y="1196955"/>
                  <a:pt x="593805" y="1195387"/>
                </a:cubicBezTo>
                <a:cubicBezTo>
                  <a:pt x="596361" y="1193343"/>
                  <a:pt x="600155" y="1193800"/>
                  <a:pt x="603330" y="1193006"/>
                </a:cubicBezTo>
                <a:cubicBezTo>
                  <a:pt x="608595" y="1187740"/>
                  <a:pt x="611921" y="1185347"/>
                  <a:pt x="615236" y="1178718"/>
                </a:cubicBezTo>
                <a:cubicBezTo>
                  <a:pt x="616358" y="1176473"/>
                  <a:pt x="616823" y="1173956"/>
                  <a:pt x="617617" y="1171575"/>
                </a:cubicBezTo>
                <a:cubicBezTo>
                  <a:pt x="619205" y="1162050"/>
                  <a:pt x="621314" y="1152597"/>
                  <a:pt x="622380" y="1143000"/>
                </a:cubicBezTo>
                <a:cubicBezTo>
                  <a:pt x="622894" y="1138369"/>
                  <a:pt x="625686" y="1111210"/>
                  <a:pt x="627142" y="1104900"/>
                </a:cubicBezTo>
                <a:cubicBezTo>
                  <a:pt x="628271" y="1100008"/>
                  <a:pt x="630688" y="1095482"/>
                  <a:pt x="631905" y="1090612"/>
                </a:cubicBezTo>
                <a:cubicBezTo>
                  <a:pt x="634895" y="1078652"/>
                  <a:pt x="633251" y="1084192"/>
                  <a:pt x="636667" y="1073943"/>
                </a:cubicBezTo>
                <a:cubicBezTo>
                  <a:pt x="637461" y="1067593"/>
                  <a:pt x="638202" y="1061236"/>
                  <a:pt x="639048" y="1054893"/>
                </a:cubicBezTo>
                <a:cubicBezTo>
                  <a:pt x="639790" y="1049330"/>
                  <a:pt x="640734" y="1043794"/>
                  <a:pt x="641430" y="1038225"/>
                </a:cubicBezTo>
                <a:cubicBezTo>
                  <a:pt x="647441" y="990138"/>
                  <a:pt x="640444" y="1040366"/>
                  <a:pt x="646192" y="1000125"/>
                </a:cubicBezTo>
                <a:cubicBezTo>
                  <a:pt x="644833" y="967513"/>
                  <a:pt x="650623" y="954219"/>
                  <a:pt x="639048" y="931068"/>
                </a:cubicBezTo>
                <a:cubicBezTo>
                  <a:pt x="637768" y="928509"/>
                  <a:pt x="635873" y="926306"/>
                  <a:pt x="634286" y="923925"/>
                </a:cubicBezTo>
                <a:cubicBezTo>
                  <a:pt x="632647" y="915727"/>
                  <a:pt x="631768" y="910350"/>
                  <a:pt x="629523" y="902493"/>
                </a:cubicBezTo>
                <a:cubicBezTo>
                  <a:pt x="622701" y="878620"/>
                  <a:pt x="632192" y="915551"/>
                  <a:pt x="624761" y="885825"/>
                </a:cubicBezTo>
                <a:cubicBezTo>
                  <a:pt x="622683" y="865039"/>
                  <a:pt x="623587" y="866255"/>
                  <a:pt x="619998" y="850106"/>
                </a:cubicBezTo>
                <a:cubicBezTo>
                  <a:pt x="619388" y="847360"/>
                  <a:pt x="616827" y="836619"/>
                  <a:pt x="615236" y="833437"/>
                </a:cubicBezTo>
                <a:cubicBezTo>
                  <a:pt x="611921" y="826807"/>
                  <a:pt x="608595" y="824415"/>
                  <a:pt x="603330" y="819150"/>
                </a:cubicBezTo>
                <a:cubicBezTo>
                  <a:pt x="601742" y="809625"/>
                  <a:pt x="606602" y="795932"/>
                  <a:pt x="598567" y="790575"/>
                </a:cubicBezTo>
                <a:lnTo>
                  <a:pt x="584280" y="781050"/>
                </a:lnTo>
                <a:cubicBezTo>
                  <a:pt x="577512" y="770898"/>
                  <a:pt x="574384" y="767485"/>
                  <a:pt x="569992" y="757237"/>
                </a:cubicBezTo>
                <a:cubicBezTo>
                  <a:pt x="567325" y="751014"/>
                  <a:pt x="567243" y="747279"/>
                  <a:pt x="565230" y="740568"/>
                </a:cubicBezTo>
                <a:cubicBezTo>
                  <a:pt x="563066" y="733355"/>
                  <a:pt x="560467" y="726281"/>
                  <a:pt x="558086" y="719137"/>
                </a:cubicBezTo>
                <a:cubicBezTo>
                  <a:pt x="557292" y="716756"/>
                  <a:pt x="557098" y="714081"/>
                  <a:pt x="555705" y="711993"/>
                </a:cubicBezTo>
                <a:lnTo>
                  <a:pt x="550942" y="704850"/>
                </a:lnTo>
                <a:cubicBezTo>
                  <a:pt x="550148" y="684212"/>
                  <a:pt x="552888" y="663132"/>
                  <a:pt x="548561" y="642937"/>
                </a:cubicBezTo>
                <a:cubicBezTo>
                  <a:pt x="547665" y="638758"/>
                  <a:pt x="540478" y="640087"/>
                  <a:pt x="536655" y="638175"/>
                </a:cubicBezTo>
                <a:cubicBezTo>
                  <a:pt x="534095" y="636895"/>
                  <a:pt x="532126" y="634574"/>
                  <a:pt x="529511" y="633412"/>
                </a:cubicBezTo>
                <a:cubicBezTo>
                  <a:pt x="524923" y="631373"/>
                  <a:pt x="515223" y="628650"/>
                  <a:pt x="515223" y="628650"/>
                </a:cubicBezTo>
                <a:lnTo>
                  <a:pt x="500936" y="619125"/>
                </a:lnTo>
                <a:lnTo>
                  <a:pt x="493792" y="614362"/>
                </a:lnTo>
                <a:cubicBezTo>
                  <a:pt x="484491" y="586457"/>
                  <a:pt x="492831" y="614317"/>
                  <a:pt x="486648" y="583406"/>
                </a:cubicBezTo>
                <a:cubicBezTo>
                  <a:pt x="486156" y="580945"/>
                  <a:pt x="485256" y="578569"/>
                  <a:pt x="484267" y="576262"/>
                </a:cubicBezTo>
                <a:cubicBezTo>
                  <a:pt x="481277" y="569283"/>
                  <a:pt x="479014" y="565573"/>
                  <a:pt x="474742" y="559593"/>
                </a:cubicBezTo>
                <a:cubicBezTo>
                  <a:pt x="472473" y="556417"/>
                  <a:pt x="464554" y="545202"/>
                  <a:pt x="460455" y="542925"/>
                </a:cubicBezTo>
                <a:cubicBezTo>
                  <a:pt x="456066" y="540487"/>
                  <a:pt x="446167" y="538162"/>
                  <a:pt x="446167" y="538162"/>
                </a:cubicBezTo>
                <a:cubicBezTo>
                  <a:pt x="444580" y="535781"/>
                  <a:pt x="443429" y="533042"/>
                  <a:pt x="441405" y="531018"/>
                </a:cubicBezTo>
                <a:cubicBezTo>
                  <a:pt x="439381" y="528994"/>
                  <a:pt x="436746" y="527676"/>
                  <a:pt x="434261" y="526256"/>
                </a:cubicBezTo>
                <a:cubicBezTo>
                  <a:pt x="426018" y="521546"/>
                  <a:pt x="425609" y="521784"/>
                  <a:pt x="417592" y="519112"/>
                </a:cubicBezTo>
                <a:cubicBezTo>
                  <a:pt x="414417" y="516731"/>
                  <a:pt x="410608" y="515017"/>
                  <a:pt x="408067" y="511968"/>
                </a:cubicBezTo>
                <a:cubicBezTo>
                  <a:pt x="406460" y="510040"/>
                  <a:pt x="407078" y="506913"/>
                  <a:pt x="405686" y="504825"/>
                </a:cubicBezTo>
                <a:cubicBezTo>
                  <a:pt x="403818" y="502023"/>
                  <a:pt x="400734" y="500238"/>
                  <a:pt x="398542" y="497681"/>
                </a:cubicBezTo>
                <a:cubicBezTo>
                  <a:pt x="395959" y="494668"/>
                  <a:pt x="394204" y="490962"/>
                  <a:pt x="391398" y="488156"/>
                </a:cubicBezTo>
                <a:cubicBezTo>
                  <a:pt x="389374" y="486132"/>
                  <a:pt x="386453" y="485225"/>
                  <a:pt x="384255" y="483393"/>
                </a:cubicBezTo>
                <a:cubicBezTo>
                  <a:pt x="381668" y="481237"/>
                  <a:pt x="379698" y="478406"/>
                  <a:pt x="377111" y="476250"/>
                </a:cubicBezTo>
                <a:cubicBezTo>
                  <a:pt x="374912" y="474418"/>
                  <a:pt x="372106" y="473388"/>
                  <a:pt x="369967" y="471487"/>
                </a:cubicBezTo>
                <a:cubicBezTo>
                  <a:pt x="364933" y="467013"/>
                  <a:pt x="360442" y="461962"/>
                  <a:pt x="355680" y="457200"/>
                </a:cubicBezTo>
                <a:lnTo>
                  <a:pt x="341392" y="442912"/>
                </a:lnTo>
                <a:cubicBezTo>
                  <a:pt x="338217" y="439737"/>
                  <a:pt x="335603" y="435877"/>
                  <a:pt x="331867" y="433387"/>
                </a:cubicBezTo>
                <a:cubicBezTo>
                  <a:pt x="325948" y="429441"/>
                  <a:pt x="322100" y="426450"/>
                  <a:pt x="315198" y="423862"/>
                </a:cubicBezTo>
                <a:cubicBezTo>
                  <a:pt x="311356" y="422421"/>
                  <a:pt x="296998" y="419746"/>
                  <a:pt x="293767" y="419100"/>
                </a:cubicBezTo>
                <a:cubicBezTo>
                  <a:pt x="289798" y="417512"/>
                  <a:pt x="285339" y="416822"/>
                  <a:pt x="281861" y="414337"/>
                </a:cubicBezTo>
                <a:cubicBezTo>
                  <a:pt x="279532" y="412673"/>
                  <a:pt x="278518" y="409678"/>
                  <a:pt x="277098" y="407193"/>
                </a:cubicBezTo>
                <a:cubicBezTo>
                  <a:pt x="273470" y="400844"/>
                  <a:pt x="271863" y="397203"/>
                  <a:pt x="269955" y="390525"/>
                </a:cubicBezTo>
                <a:cubicBezTo>
                  <a:pt x="269056" y="387378"/>
                  <a:pt x="268722" y="384064"/>
                  <a:pt x="267573" y="381000"/>
                </a:cubicBezTo>
                <a:cubicBezTo>
                  <a:pt x="266327" y="377676"/>
                  <a:pt x="265651" y="373605"/>
                  <a:pt x="262811" y="371475"/>
                </a:cubicBezTo>
                <a:cubicBezTo>
                  <a:pt x="258795" y="368463"/>
                  <a:pt x="248523" y="366712"/>
                  <a:pt x="248523" y="366712"/>
                </a:cubicBezTo>
                <a:cubicBezTo>
                  <a:pt x="246142" y="365125"/>
                  <a:pt x="243939" y="363230"/>
                  <a:pt x="241380" y="361950"/>
                </a:cubicBezTo>
                <a:cubicBezTo>
                  <a:pt x="239135" y="360827"/>
                  <a:pt x="236011" y="361343"/>
                  <a:pt x="234236" y="359568"/>
                </a:cubicBezTo>
                <a:cubicBezTo>
                  <a:pt x="231976" y="357308"/>
                  <a:pt x="224015" y="342070"/>
                  <a:pt x="222330" y="338137"/>
                </a:cubicBezTo>
                <a:cubicBezTo>
                  <a:pt x="221341" y="335830"/>
                  <a:pt x="221193" y="333172"/>
                  <a:pt x="219948" y="330993"/>
                </a:cubicBezTo>
                <a:cubicBezTo>
                  <a:pt x="217979" y="327547"/>
                  <a:pt x="214805" y="324896"/>
                  <a:pt x="212805" y="321468"/>
                </a:cubicBezTo>
                <a:cubicBezTo>
                  <a:pt x="209228" y="315336"/>
                  <a:pt x="207219" y="308325"/>
                  <a:pt x="203280" y="302418"/>
                </a:cubicBezTo>
                <a:cubicBezTo>
                  <a:pt x="199470" y="296704"/>
                  <a:pt x="198357" y="293052"/>
                  <a:pt x="191373" y="290512"/>
                </a:cubicBezTo>
                <a:cubicBezTo>
                  <a:pt x="185222" y="288275"/>
                  <a:pt x="172323" y="285750"/>
                  <a:pt x="172323" y="285750"/>
                </a:cubicBezTo>
                <a:cubicBezTo>
                  <a:pt x="169148" y="284162"/>
                  <a:pt x="166061" y="282385"/>
                  <a:pt x="162798" y="280987"/>
                </a:cubicBezTo>
                <a:cubicBezTo>
                  <a:pt x="160491" y="279998"/>
                  <a:pt x="157834" y="279851"/>
                  <a:pt x="155655" y="278606"/>
                </a:cubicBezTo>
                <a:cubicBezTo>
                  <a:pt x="152209" y="276637"/>
                  <a:pt x="149558" y="273462"/>
                  <a:pt x="146130" y="271462"/>
                </a:cubicBezTo>
                <a:cubicBezTo>
                  <a:pt x="139998" y="267885"/>
                  <a:pt x="133430" y="265112"/>
                  <a:pt x="127080" y="261937"/>
                </a:cubicBezTo>
                <a:cubicBezTo>
                  <a:pt x="123905" y="260350"/>
                  <a:pt x="120509" y="259144"/>
                  <a:pt x="117555" y="257175"/>
                </a:cubicBezTo>
                <a:lnTo>
                  <a:pt x="103267" y="247650"/>
                </a:lnTo>
                <a:cubicBezTo>
                  <a:pt x="102473" y="238919"/>
                  <a:pt x="104033" y="229639"/>
                  <a:pt x="100886" y="221456"/>
                </a:cubicBezTo>
                <a:cubicBezTo>
                  <a:pt x="99612" y="218143"/>
                  <a:pt x="94729" y="217816"/>
                  <a:pt x="91361" y="216693"/>
                </a:cubicBezTo>
                <a:cubicBezTo>
                  <a:pt x="85151" y="214623"/>
                  <a:pt x="72311" y="211931"/>
                  <a:pt x="72311" y="211931"/>
                </a:cubicBezTo>
                <a:cubicBezTo>
                  <a:pt x="58295" y="204922"/>
                  <a:pt x="66155" y="208291"/>
                  <a:pt x="48498" y="202406"/>
                </a:cubicBezTo>
                <a:lnTo>
                  <a:pt x="41355" y="200025"/>
                </a:lnTo>
                <a:lnTo>
                  <a:pt x="34211" y="197643"/>
                </a:lnTo>
                <a:cubicBezTo>
                  <a:pt x="33417" y="195262"/>
                  <a:pt x="33222" y="192588"/>
                  <a:pt x="31830" y="190500"/>
                </a:cubicBezTo>
                <a:cubicBezTo>
                  <a:pt x="29962" y="187698"/>
                  <a:pt x="26842" y="185943"/>
                  <a:pt x="24686" y="183356"/>
                </a:cubicBezTo>
                <a:cubicBezTo>
                  <a:pt x="22854" y="181157"/>
                  <a:pt x="21511" y="178593"/>
                  <a:pt x="19923" y="176212"/>
                </a:cubicBezTo>
                <a:cubicBezTo>
                  <a:pt x="18105" y="152575"/>
                  <a:pt x="19794" y="151950"/>
                  <a:pt x="15161" y="135731"/>
                </a:cubicBezTo>
                <a:cubicBezTo>
                  <a:pt x="14471" y="133317"/>
                  <a:pt x="14348" y="130547"/>
                  <a:pt x="12780" y="128587"/>
                </a:cubicBezTo>
                <a:cubicBezTo>
                  <a:pt x="10992" y="126352"/>
                  <a:pt x="8017" y="125412"/>
                  <a:pt x="5636" y="123825"/>
                </a:cubicBezTo>
                <a:cubicBezTo>
                  <a:pt x="-2911" y="98185"/>
                  <a:pt x="-48" y="112724"/>
                  <a:pt x="3255" y="71437"/>
                </a:cubicBezTo>
                <a:cubicBezTo>
                  <a:pt x="5620" y="41874"/>
                  <a:pt x="3466" y="58794"/>
                  <a:pt x="8017" y="42862"/>
                </a:cubicBezTo>
                <a:cubicBezTo>
                  <a:pt x="8916" y="39715"/>
                  <a:pt x="9688" y="36532"/>
                  <a:pt x="10398" y="33337"/>
                </a:cubicBezTo>
                <a:cubicBezTo>
                  <a:pt x="11276" y="29386"/>
                  <a:pt x="10772" y="24945"/>
                  <a:pt x="12780" y="21431"/>
                </a:cubicBezTo>
                <a:cubicBezTo>
                  <a:pt x="15522" y="16633"/>
                  <a:pt x="25294" y="15325"/>
                  <a:pt x="29448" y="14287"/>
                </a:cubicBezTo>
                <a:cubicBezTo>
                  <a:pt x="31036" y="11906"/>
                  <a:pt x="31882" y="8807"/>
                  <a:pt x="34211" y="7143"/>
                </a:cubicBezTo>
                <a:cubicBezTo>
                  <a:pt x="40302" y="2792"/>
                  <a:pt x="50990" y="1407"/>
                  <a:pt x="58023" y="0"/>
                </a:cubicBezTo>
                <a:cubicBezTo>
                  <a:pt x="64373" y="794"/>
                  <a:pt x="70777" y="1236"/>
                  <a:pt x="77073" y="2381"/>
                </a:cubicBezTo>
                <a:cubicBezTo>
                  <a:pt x="79543" y="2830"/>
                  <a:pt x="81732" y="4407"/>
                  <a:pt x="84217" y="4762"/>
                </a:cubicBezTo>
                <a:cubicBezTo>
                  <a:pt x="92896" y="6002"/>
                  <a:pt x="101680" y="6349"/>
                  <a:pt x="110411" y="7143"/>
                </a:cubicBezTo>
                <a:cubicBezTo>
                  <a:pt x="126551" y="17904"/>
                  <a:pt x="108990" y="3593"/>
                  <a:pt x="119936" y="30956"/>
                </a:cubicBezTo>
                <a:cubicBezTo>
                  <a:pt x="120999" y="33613"/>
                  <a:pt x="124520" y="34438"/>
                  <a:pt x="127080" y="35718"/>
                </a:cubicBezTo>
                <a:cubicBezTo>
                  <a:pt x="133350" y="38853"/>
                  <a:pt x="158830" y="43655"/>
                  <a:pt x="165180" y="45243"/>
                </a:cubicBezTo>
                <a:close/>
              </a:path>
            </a:pathLst>
          </a:custGeom>
          <a:blipFill>
            <a:blip r:embed="rId5" cstate="print">
              <a:extLst>
                <a:ext uri="{28A0092B-C50C-407E-A947-70E740481C1C}">
                  <a14:useLocalDpi xmlns:a14="http://schemas.microsoft.com/office/drawing/2010/main" val="0"/>
                </a:ext>
              </a:extLst>
            </a:blip>
            <a:stretch>
              <a:fillRect l="3000" b="5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7" name="TextBox 6">
            <a:extLst>
              <a:ext uri="{FF2B5EF4-FFF2-40B4-BE49-F238E27FC236}">
                <a16:creationId xmlns:a16="http://schemas.microsoft.com/office/drawing/2014/main" xmlns="" id="{0550BFD4-741D-4F4E-86D4-2072CC47AB6C}"/>
              </a:ext>
            </a:extLst>
          </p:cNvPr>
          <p:cNvSpPr txBox="1"/>
          <p:nvPr/>
        </p:nvSpPr>
        <p:spPr>
          <a:xfrm>
            <a:off x="835868" y="-5184"/>
            <a:ext cx="7100790" cy="553998"/>
          </a:xfrm>
          <a:prstGeom prst="rect">
            <a:avLst/>
          </a:prstGeom>
          <a:noFill/>
        </p:spPr>
        <p:txBody>
          <a:bodyPr wrap="none" rtlCol="0">
            <a:spAutoFit/>
          </a:bodyPr>
          <a:lstStyle/>
          <a:p>
            <a:r>
              <a:rPr lang="en-US" sz="3000" b="1" u="sng"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8</a:t>
            </a:r>
            <a:r>
              <a:rPr lang="en-US" sz="30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THE DATA REVOUTIONARIES”</a:t>
            </a:r>
          </a:p>
        </p:txBody>
      </p:sp>
    </p:spTree>
    <p:extLst>
      <p:ext uri="{BB962C8B-B14F-4D97-AF65-F5344CB8AC3E}">
        <p14:creationId xmlns:p14="http://schemas.microsoft.com/office/powerpoint/2010/main" val="676647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4531 -0.0895 L 0.04531 -0.0895 C 0.04878 -0.08919 0.05225 -0.08827 0.05572 -0.08796 C 0.0618 -0.08734 0.06788 -0.08765 0.07378 -0.08642 C 0.07569 -0.0858 0.08003 -0.08209 0.08229 -0.08117 C 0.08489 -0.07993 0.0875 -0.07932 0.08993 -0.07777 L 0.09566 -0.07438 C 0.0967 -0.07376 0.09757 -0.07314 0.09861 -0.07284 C 0.09982 -0.07222 0.10104 -0.0716 0.10243 -0.07098 C 0.10434 -0.07006 0.10625 -0.06882 0.10816 -0.06759 C 0.10902 -0.06697 0.10989 -0.06635 0.11093 -0.06605 C 0.11354 -0.06481 0.11614 -0.06419 0.11857 -0.06265 C 0.12048 -0.06142 0.12239 -0.06018 0.1243 -0.05926 C 0.12673 -0.05802 0.12934 -0.0574 0.13194 -0.05586 L 0.14045 -0.05061 L 0.1434 -0.04907 C 0.14427 -0.04845 0.14513 -0.04784 0.14618 -0.04722 L 0.15 -0.04568 L 0.15572 -0.03888 C 0.15659 -0.03765 0.15746 -0.03611 0.1585 -0.03549 L 0.16232 -0.03364 C 0.16336 -0.03271 0.16441 -0.03179 0.16527 -0.03055 C 0.16718 -0.02685 0.16666 -0.02438 0.16909 -0.02191 C 0.17013 -0.02068 0.17482 -0.01913 0.17569 -0.01851 C 0.17986 -0.01635 0.18125 -0.01605 0.1842 -0.01172 C 0.18489 -0.0108 0.18559 -0.00956 0.18611 -0.00833 C 0.18784 0.00062 0.18611 -0.00679 0.18993 0.00186 C 0.19079 0.0034 0.19097 0.00587 0.19184 0.00679 C 0.19357 0.00865 0.19757 0.01019 0.19757 0.01019 C 0.19861 0.01142 0.19947 0.01266 0.20052 0.01358 C 0.20225 0.01513 0.20625 0.01698 0.20625 0.01698 C 0.21197 0.02716 0.20885 0.02377 0.21475 0.02871 C 0.21562 0.03056 0.21649 0.03272 0.21753 0.03395 C 0.21944 0.03581 0.22326 0.03735 0.22326 0.03735 C 0.22361 0.03951 0.22447 0.04661 0.22517 0.04908 C 0.22569 0.05093 0.22656 0.05247 0.22708 0.05432 C 0.2276 0.05587 0.22743 0.05803 0.22812 0.05926 C 0.23177 0.06791 0.23159 0.06698 0.23576 0.06945 C 0.23836 0.07655 0.23906 0.07963 0.24236 0.08457 C 0.24322 0.08612 0.24427 0.08704 0.24531 0.08797 C 0.25034 0.10155 0.24357 0.08519 0.25 0.09661 C 0.25086 0.09815 0.25104 0.10031 0.25191 0.10155 C 0.25277 0.10309 0.25382 0.10371 0.25468 0.10494 C 0.25538 0.10618 0.2559 0.10741 0.25659 0.10834 C 0.2585 0.11081 0.26059 0.11266 0.26232 0.11513 C 0.26371 0.11698 0.26493 0.11852 0.26614 0.12037 C 0.26805 0.12253 0.27187 0.12716 0.27187 0.12716 C 0.27257 0.12871 0.27291 0.13087 0.27378 0.1321 C 0.27465 0.13334 0.27604 0.13241 0.27673 0.13395 C 0.27777 0.13673 0.27795 0.14074 0.27864 0.14383 C 0.27986 0.15093 0.27899 0.14753 0.28142 0.15402 C 0.28385 0.16698 0.28055 0.15124 0.2842 0.1642 C 0.28472 0.16574 0.28472 0.16791 0.28524 0.16945 C 0.28576 0.1713 0.28628 0.17315 0.28715 0.17439 C 0.28906 0.17778 0.29045 0.17809 0.29288 0.17963 C 0.29322 0.18118 0.29322 0.18303 0.29375 0.18457 C 0.29809 0.19599 0.29548 0.18365 0.29861 0.19476 C 0.29965 0.19877 0.3 0.20432 0.30052 0.20834 C 0.30121 0.21389 0.30295 0.21945 0.3052 0.22346 C 0.3059 0.2247 0.30642 0.22624 0.30711 0.22686 C 0.30798 0.22778 0.30902 0.22809 0.31007 0.22871 C 0.3118 0.24198 0.31041 0.22963 0.31197 0.25062 C 0.31215 0.25432 0.31267 0.26204 0.31388 0.26574 C 0.31493 0.27007 0.31579 0.2713 0.31753 0.27439 C 0.31996 0.28704 0.31684 0.2713 0.32048 0.28457 C 0.321 0.28612 0.32118 0.28797 0.32135 0.28951 C 0.32274 0.30494 0.3217 0.29753 0.3243 0.31173 L 0.3243 0.31173 C 0.325 0.31729 0.32534 0.3213 0.32621 0.32686 C 0.32638 0.3284 0.32691 0.33025 0.32708 0.33179 C 0.3276 0.33457 0.32829 0.34105 0.32899 0.34383 C 0.32951 0.34568 0.33038 0.34723 0.3309 0.34877 C 0.33125 0.35618 0.33142 0.36358 0.33194 0.37099 C 0.33211 0.37253 0.33263 0.37408 0.33281 0.37593 C 0.3335 0.38025 0.33437 0.38704 0.33472 0.39105 C 0.33593 0.40309 0.33524 0.40124 0.33663 0.41142 C 0.33732 0.41605 0.33767 0.42068 0.33854 0.425 L 0.34045 0.43519 C 0.34079 0.43673 0.34132 0.43858 0.34149 0.44013 L 0.34236 0.44877 C 0.3427 0.46173 0.34253 0.4747 0.3434 0.48766 C 0.34357 0.49074 0.34461 0.49321 0.34531 0.49599 C 0.34566 0.49846 0.34583 0.50062 0.34618 0.50278 C 0.3467 0.50587 0.34757 0.50834 0.34809 0.51142 C 0.34843 0.51358 0.34861 0.51605 0.34913 0.51821 C 0.3493 0.51976 0.34965 0.52161 0.35 0.52315 C 0.35034 0.52932 0.35052 0.54383 0.35277 0.55031 L 0.35468 0.55525 C 0.35503 0.5571 0.3552 0.55895 0.35572 0.5605 C 0.35694 0.56482 0.35781 0.56574 0.35954 0.56883 C 0.35989 0.59877 0.35954 0.62871 0.36041 0.65865 C 0.36059 0.66173 0.36197 0.6642 0.36232 0.66698 C 0.36302 0.67253 0.36267 0.6784 0.36336 0.68395 C 0.36354 0.68612 0.36475 0.68735 0.36527 0.6892 C 0.37309 0.71389 0.36267 0.6821 0.36805 0.70093 C 0.36857 0.70278 0.36944 0.70432 0.36996 0.70618 C 0.37031 0.70772 0.37066 0.70957 0.371 0.71112 C 0.37187 0.71667 0.37222 0.72068 0.37291 0.72624 C 0.37326 0.76204 0.37326 0.79753 0.37378 0.83303 C 0.37378 0.83488 0.37447 0.83642 0.37482 0.83828 C 0.37517 0.84105 0.37534 0.84383 0.37569 0.84661 C 0.37708 0.88087 0.37413 0.86142 0.37864 0.87531 C 0.37934 0.87747 0.38003 0.87994 0.38055 0.8821 C 0.38125 0.8855 0.38246 0.89229 0.38246 0.89229 C 0.38263 0.90309 0.38281 0.91389 0.38333 0.92439 C 0.3835 0.92747 0.38385 0.93025 0.38437 0.93303 C 0.38507 0.93951 0.38559 0.94105 0.38611 0.94815 C 0.38663 0.95309 0.38663 0.95834 0.38715 0.96328 C 0.38819 0.97531 0.38784 0.96544 0.38906 0.97531 C 0.38941 0.97871 0.38958 0.9821 0.38993 0.9855 C 0.39027 0.98766 0.39062 0.98982 0.39097 0.99229 C 0.39184 0.99939 0.39218 1.0034 0.39288 1.01081 C 0.39392 1.03642 0.39253 1.02593 0.39566 1.04291 L 0.39566 1.04291 C 0.396 1.04568 0.39618 1.04877 0.3967 1.05155 C 0.39704 1.05371 0.39809 1.05587 0.39861 1.05834 C 0.3993 1.06142 0.39965 1.06513 0.40052 1.06852 C 0.40486 1.08395 0.40364 1.07716 0.4052 1.08858 C 0.40538 1.0997 0.4059 1.16729 0.40711 1.19198 C 0.40729 1.19383 0.40781 1.19537 0.40816 1.19692 C 0.40954 1.20679 0.40868 1.20525 0.41007 1.21574 C 0.41059 1.22007 0.41197 1.22932 0.41197 1.22932 C 0.41215 1.2355 0.4125 1.24167 0.41284 1.24784 C 0.41302 1.25062 0.41354 1.2534 0.41388 1.25618 C 0.41423 1.26297 0.41441 1.26976 0.41475 1.27655 C 0.4151 1.28241 0.41545 1.28797 0.41579 1.29352 C 0.41597 1.3071 0.41614 1.32068 0.41666 1.33426 C 0.41684 1.33982 0.41701 1.34568 0.4177 1.35124 C 0.41805 1.35463 0.41961 1.36112 0.41961 1.36112 " pathEditMode="relative" ptsTypes="AAAAAAAAAAAAAAAAAAAAAAAAAAAAAAAAAAAAAAAAAAAAAAAAAAAAAAAAAAAAAAAAAAAAAAAAAAAAAAAAAAAAAAAAAAAAAAAAAAAAAAAAAAAAAAAAAAAAAAAAAAAAAAAAA">
                                      <p:cBhvr>
                                        <p:cTn id="6" dur="1400" fill="hold"/>
                                        <p:tgtEl>
                                          <p:spTgt spid="1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916F51E8-C3FA-4357-8607-A2029DA0F09B}"/>
              </a:ext>
            </a:extLst>
          </p:cNvPr>
          <p:cNvSpPr>
            <a:spLocks noGrp="1"/>
          </p:cNvSpPr>
          <p:nvPr>
            <p:ph type="body" sz="quarter" idx="12"/>
          </p:nvPr>
        </p:nvSpPr>
        <p:spPr/>
        <p:txBody>
          <a:bodyPr/>
          <a:lstStyle/>
          <a:p>
            <a:endParaRPr lang="en-US"/>
          </a:p>
        </p:txBody>
      </p:sp>
      <p:pic>
        <p:nvPicPr>
          <p:cNvPr id="3074" name="Picture 2" descr="Image result for go ahead and say one more time meme samuel jackson">
            <a:extLst>
              <a:ext uri="{FF2B5EF4-FFF2-40B4-BE49-F238E27FC236}">
                <a16:creationId xmlns:a16="http://schemas.microsoft.com/office/drawing/2014/main" xmlns="" id="{56608C6F-C47F-461E-BC53-7F48E7132D7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588241"/>
            <a:ext cx="9144000" cy="387191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6D2C059E-D40F-48FF-AC78-C61182DEF3B5}"/>
              </a:ext>
            </a:extLst>
          </p:cNvPr>
          <p:cNvSpPr txBox="1"/>
          <p:nvPr/>
        </p:nvSpPr>
        <p:spPr>
          <a:xfrm>
            <a:off x="1048850" y="-58090"/>
            <a:ext cx="6742487" cy="646331"/>
          </a:xfrm>
          <a:prstGeom prst="rect">
            <a:avLst/>
          </a:prstGeom>
          <a:noFill/>
        </p:spPr>
        <p:txBody>
          <a:bodyPr wrap="none" rtlCol="0">
            <a:spAutoFit/>
          </a:bodyPr>
          <a:lstStyle/>
          <a:p>
            <a:r>
              <a:rPr lang="en-US" sz="3600" b="1" u="sng"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8</a:t>
            </a:r>
            <a:r>
              <a:rPr lang="en-US" sz="3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AY ‘DATA SCIENCE’…</a:t>
            </a:r>
          </a:p>
        </p:txBody>
      </p:sp>
      <p:sp>
        <p:nvSpPr>
          <p:cNvPr id="7" name="TextBox 6">
            <a:extLst>
              <a:ext uri="{FF2B5EF4-FFF2-40B4-BE49-F238E27FC236}">
                <a16:creationId xmlns:a16="http://schemas.microsoft.com/office/drawing/2014/main" xmlns="" id="{306A7233-2C96-4175-8271-FDCC462C0A3C}"/>
              </a:ext>
            </a:extLst>
          </p:cNvPr>
          <p:cNvSpPr txBox="1"/>
          <p:nvPr/>
        </p:nvSpPr>
        <p:spPr>
          <a:xfrm>
            <a:off x="2144903" y="4485116"/>
            <a:ext cx="5006499" cy="646331"/>
          </a:xfrm>
          <a:prstGeom prst="rect">
            <a:avLst/>
          </a:prstGeom>
          <a:noFill/>
        </p:spPr>
        <p:txBody>
          <a:bodyPr wrap="none" rtlCol="0">
            <a:spAutoFit/>
          </a:bodyPr>
          <a:lstStyle/>
          <a:p>
            <a:r>
              <a:rPr lang="en-US" sz="36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NE… MORE… TIME!</a:t>
            </a:r>
          </a:p>
        </p:txBody>
      </p:sp>
    </p:spTree>
    <p:extLst>
      <p:ext uri="{BB962C8B-B14F-4D97-AF65-F5344CB8AC3E}">
        <p14:creationId xmlns:p14="http://schemas.microsoft.com/office/powerpoint/2010/main" val="40522314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8A0135-95ED-48D0-AC84-89E0535CBBE7}"/>
              </a:ext>
            </a:extLst>
          </p:cNvPr>
          <p:cNvSpPr>
            <a:spLocks noGrp="1"/>
          </p:cNvSpPr>
          <p:nvPr>
            <p:ph type="title"/>
          </p:nvPr>
        </p:nvSpPr>
        <p:spPr>
          <a:xfrm>
            <a:off x="626364" y="158968"/>
            <a:ext cx="7891272" cy="457200"/>
          </a:xfrm>
        </p:spPr>
        <p:txBody>
          <a:bodyPr/>
          <a:lstStyle/>
          <a:p>
            <a:r>
              <a:rPr lang="en-US" b="1" dirty="0"/>
              <a:t>Three Year Genesis of This Talk</a:t>
            </a:r>
          </a:p>
        </p:txBody>
      </p:sp>
      <p:sp>
        <p:nvSpPr>
          <p:cNvPr id="4" name="Content Placeholder 3">
            <a:extLst>
              <a:ext uri="{FF2B5EF4-FFF2-40B4-BE49-F238E27FC236}">
                <a16:creationId xmlns:a16="http://schemas.microsoft.com/office/drawing/2014/main" xmlns="" id="{2FDCEEF7-05FE-411E-BA60-343782280275}"/>
              </a:ext>
            </a:extLst>
          </p:cNvPr>
          <p:cNvSpPr>
            <a:spLocks noGrp="1"/>
          </p:cNvSpPr>
          <p:nvPr>
            <p:ph sz="quarter" idx="11"/>
          </p:nvPr>
        </p:nvSpPr>
        <p:spPr>
          <a:xfrm>
            <a:off x="569556" y="697350"/>
            <a:ext cx="7891272" cy="4058582"/>
          </a:xfrm>
        </p:spPr>
        <p:txBody>
          <a:bodyPr>
            <a:normAutofit/>
          </a:bodyPr>
          <a:lstStyle/>
          <a:p>
            <a:pPr marL="0" indent="0">
              <a:buNone/>
            </a:pPr>
            <a:r>
              <a:rPr lang="en-US" sz="2400" b="1" dirty="0" err="1">
                <a:solidFill>
                  <a:schemeClr val="bg1">
                    <a:lumMod val="75000"/>
                  </a:schemeClr>
                </a:solidFill>
              </a:rPr>
              <a:t>FloCon</a:t>
            </a:r>
            <a:r>
              <a:rPr lang="en-US" sz="2400" b="1" dirty="0">
                <a:solidFill>
                  <a:schemeClr val="bg1">
                    <a:lumMod val="75000"/>
                  </a:schemeClr>
                </a:solidFill>
              </a:rPr>
              <a:t> 2017 – San Diego</a:t>
            </a:r>
          </a:p>
          <a:p>
            <a:r>
              <a:rPr lang="en-US" sz="2400" dirty="0">
                <a:solidFill>
                  <a:schemeClr val="bg1">
                    <a:lumMod val="75000"/>
                  </a:schemeClr>
                </a:solidFill>
              </a:rPr>
              <a:t>Interest in analytics percolates</a:t>
            </a:r>
          </a:p>
          <a:p>
            <a:r>
              <a:rPr lang="en-US" sz="2400" dirty="0">
                <a:solidFill>
                  <a:schemeClr val="bg1">
                    <a:lumMod val="75000"/>
                  </a:schemeClr>
                </a:solidFill>
              </a:rPr>
              <a:t>But…: ‘</a:t>
            </a:r>
            <a:r>
              <a:rPr lang="en-US" sz="2400" i="1" dirty="0">
                <a:solidFill>
                  <a:schemeClr val="bg1">
                    <a:lumMod val="75000"/>
                  </a:schemeClr>
                </a:solidFill>
              </a:rPr>
              <a:t>I’ll know it when I see it</a:t>
            </a:r>
            <a:r>
              <a:rPr lang="en-US" sz="2400" dirty="0">
                <a:solidFill>
                  <a:schemeClr val="bg1">
                    <a:lumMod val="75000"/>
                  </a:schemeClr>
                </a:solidFill>
              </a:rPr>
              <a:t>’</a:t>
            </a:r>
          </a:p>
          <a:p>
            <a:endParaRPr lang="en-US" sz="100" dirty="0">
              <a:solidFill>
                <a:schemeClr val="bg1">
                  <a:lumMod val="75000"/>
                </a:schemeClr>
              </a:solidFill>
            </a:endParaRPr>
          </a:p>
          <a:p>
            <a:pPr marL="0" indent="0">
              <a:buNone/>
            </a:pPr>
            <a:r>
              <a:rPr lang="en-US" sz="2400" b="1" dirty="0" err="1">
                <a:solidFill>
                  <a:schemeClr val="bg1">
                    <a:lumMod val="75000"/>
                  </a:schemeClr>
                </a:solidFill>
              </a:rPr>
              <a:t>FloCon</a:t>
            </a:r>
            <a:r>
              <a:rPr lang="en-US" sz="2400" b="1" dirty="0">
                <a:solidFill>
                  <a:schemeClr val="bg1">
                    <a:lumMod val="75000"/>
                  </a:schemeClr>
                </a:solidFill>
              </a:rPr>
              <a:t> 2018 – Tucson </a:t>
            </a:r>
          </a:p>
          <a:p>
            <a:r>
              <a:rPr lang="en-US" sz="2400" dirty="0">
                <a:solidFill>
                  <a:schemeClr val="bg1">
                    <a:lumMod val="75000"/>
                  </a:schemeClr>
                </a:solidFill>
              </a:rPr>
              <a:t>Spike in analytics and ML cases</a:t>
            </a:r>
          </a:p>
          <a:p>
            <a:r>
              <a:rPr lang="en-US" sz="2400" dirty="0">
                <a:solidFill>
                  <a:schemeClr val="bg1">
                    <a:lumMod val="75000"/>
                  </a:schemeClr>
                </a:solidFill>
              </a:rPr>
              <a:t>But…: ‘</a:t>
            </a:r>
            <a:r>
              <a:rPr lang="en-US" sz="2400" i="1" dirty="0">
                <a:solidFill>
                  <a:schemeClr val="bg1">
                    <a:lumMod val="75000"/>
                  </a:schemeClr>
                </a:solidFill>
              </a:rPr>
              <a:t>How do we get there?’</a:t>
            </a:r>
          </a:p>
          <a:p>
            <a:pPr marL="0" indent="0">
              <a:buNone/>
            </a:pPr>
            <a:endParaRPr lang="en-US" sz="800" dirty="0">
              <a:solidFill>
                <a:schemeClr val="bg1">
                  <a:lumMod val="75000"/>
                </a:schemeClr>
              </a:solidFill>
            </a:endParaRPr>
          </a:p>
          <a:p>
            <a:pPr marL="0" indent="0">
              <a:buNone/>
            </a:pPr>
            <a:r>
              <a:rPr lang="en-US" sz="2400" b="1" dirty="0" err="1"/>
              <a:t>FloCon</a:t>
            </a:r>
            <a:r>
              <a:rPr lang="en-US" sz="2400" b="1" dirty="0"/>
              <a:t> 2019 – New Orleans </a:t>
            </a:r>
          </a:p>
          <a:p>
            <a:r>
              <a:rPr lang="en-US" sz="2400" dirty="0"/>
              <a:t>Deafening market / vendor buzz</a:t>
            </a:r>
          </a:p>
          <a:p>
            <a:r>
              <a:rPr lang="en-US" sz="2400" dirty="0"/>
              <a:t>But, caveats abound: ‘</a:t>
            </a:r>
            <a:r>
              <a:rPr lang="en-US" sz="2400" i="1" dirty="0"/>
              <a:t>Many are drowning in data lakes</a:t>
            </a:r>
            <a:r>
              <a:rPr lang="en-US" sz="2400" dirty="0"/>
              <a:t>’</a:t>
            </a:r>
          </a:p>
          <a:p>
            <a:pPr marL="0" indent="0">
              <a:buNone/>
            </a:pPr>
            <a:endParaRPr lang="en-US" sz="2400" dirty="0"/>
          </a:p>
          <a:p>
            <a:endParaRPr lang="en-US" sz="2400" dirty="0"/>
          </a:p>
        </p:txBody>
      </p:sp>
      <p:pic>
        <p:nvPicPr>
          <p:cNvPr id="4098" name="Picture 2" descr="Image result for new orleans">
            <a:extLst>
              <a:ext uri="{FF2B5EF4-FFF2-40B4-BE49-F238E27FC236}">
                <a16:creationId xmlns:a16="http://schemas.microsoft.com/office/drawing/2014/main" xmlns="" id="{932075D0-202C-46CF-B97E-24DB1A74FE8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4607" y="1162705"/>
            <a:ext cx="3754602" cy="2505131"/>
          </a:xfrm>
          <a:prstGeom prst="rect">
            <a:avLst/>
          </a:prstGeom>
          <a:noFill/>
          <a:ln>
            <a:solidFill>
              <a:schemeClr val="accent3"/>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xmlns="" id="{5D8C1BE6-007B-4CA6-A325-EAD37990B6EE}"/>
              </a:ext>
            </a:extLst>
          </p:cNvPr>
          <p:cNvSpPr txBox="1"/>
          <p:nvPr/>
        </p:nvSpPr>
        <p:spPr>
          <a:xfrm>
            <a:off x="6184973" y="3672358"/>
            <a:ext cx="1912703" cy="184666"/>
          </a:xfrm>
          <a:prstGeom prst="rect">
            <a:avLst/>
          </a:prstGeom>
          <a:noFill/>
        </p:spPr>
        <p:txBody>
          <a:bodyPr wrap="none" rtlCol="0">
            <a:spAutoFit/>
          </a:bodyPr>
          <a:lstStyle/>
          <a:p>
            <a:r>
              <a:rPr lang="en-US" sz="600" dirty="0">
                <a:solidFill>
                  <a:schemeClr val="bg1">
                    <a:lumMod val="85000"/>
                  </a:schemeClr>
                </a:solidFill>
              </a:rPr>
              <a:t>Labeled for non-commercial reuse Wikipedia Commons</a:t>
            </a:r>
          </a:p>
        </p:txBody>
      </p:sp>
    </p:spTree>
    <p:extLst>
      <p:ext uri="{BB962C8B-B14F-4D97-AF65-F5344CB8AC3E}">
        <p14:creationId xmlns:p14="http://schemas.microsoft.com/office/powerpoint/2010/main" val="277397431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S Master, Whit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FFA566C9-D4FB-D64B-9137-837611523DD4}"/>
    </a:ext>
  </a:extLst>
</a:theme>
</file>

<file path=ppt/theme/theme2.xml><?xml version="1.0" encoding="utf-8"?>
<a:theme xmlns:a="http://schemas.openxmlformats.org/drawingml/2006/main" name="SAS - Blue Master">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AA045A88-3190-B348-B653-3851E888E997}"/>
    </a:ext>
  </a:extLst>
</a:theme>
</file>

<file path=ppt/theme/theme3.xml><?xml version="1.0" encoding="utf-8"?>
<a:theme xmlns:a="http://schemas.openxmlformats.org/drawingml/2006/main" name="SAS Viya Master - whit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77E655EF-E6C4-7447-B06A-102074CEF917}"/>
    </a:ext>
  </a:extLst>
</a:theme>
</file>

<file path=ppt/theme/theme4.xml><?xml version="1.0" encoding="utf-8"?>
<a:theme xmlns:a="http://schemas.openxmlformats.org/drawingml/2006/main" name="Viya Master - Blu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C76C9DD6-4155-2448-8C12-D5F3FC7D4600}"/>
    </a:ext>
  </a:extLst>
</a:theme>
</file>

<file path=ppt/theme/theme5.xml><?xml version="1.0" encoding="utf-8"?>
<a:theme xmlns:a="http://schemas.openxmlformats.org/drawingml/2006/main" name="Confidential Master - Whit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1DC2788A-BA16-B74F-BB0A-500A0DC9DCDA}"/>
    </a:ext>
  </a:extLst>
</a:theme>
</file>

<file path=ppt/theme/theme6.xml><?xml version="1.0" encoding="utf-8"?>
<a:theme xmlns:a="http://schemas.openxmlformats.org/drawingml/2006/main" name="Confidential - Blue Master">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55BF615-7CE4-1045-9CDE-3EF107BE83AB}" vid="{D76E88E4-AFB3-4140-83E0-978D43C4954F}"/>
    </a:ext>
  </a:extLst>
</a:theme>
</file>

<file path=ppt/theme/theme7.xml><?xml version="1.0" encoding="utf-8"?>
<a:theme xmlns:a="http://schemas.openxmlformats.org/drawingml/2006/main" name="Office Them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Presentation-Fonts">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Office Them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Presentation-Fonts">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BAB130CD55FC4E81C56B543F99CD21" ma:contentTypeVersion="16" ma:contentTypeDescription="Create a new document." ma:contentTypeScope="" ma:versionID="0d1f5562a9d1a8e4049c7e3ed74b3f8d">
  <xsd:schema xmlns:xsd="http://www.w3.org/2001/XMLSchema" xmlns:xs="http://www.w3.org/2001/XMLSchema" xmlns:p="http://schemas.microsoft.com/office/2006/metadata/properties" xmlns:ns2="27859d8f-6750-407e-aa47-fba89d8acaed" targetNamespace="http://schemas.microsoft.com/office/2006/metadata/properties" ma:root="true" ma:fieldsID="91267138a936e10244e5298669e4180a" ns2:_="">
    <xsd:import namespace="27859d8f-6750-407e-aa47-fba89d8acaed"/>
    <xsd:element name="properties">
      <xsd:complexType>
        <xsd:sequence>
          <xsd:element name="documentManagement">
            <xsd:complexType>
              <xsd:all>
                <xsd:element ref="ns2:Owner" minOccurs="0"/>
                <xsd:element ref="ns2:Description0" minOccurs="0"/>
                <xsd:element ref="ns2:Status" minOccurs="0"/>
                <xsd:element ref="ns2:Template_x0020_Type" minOccurs="0"/>
                <xsd:element ref="ns2:Office_x0020_Version" minOccurs="0"/>
                <xsd:element ref="ns2:Extension" minOccurs="0"/>
                <xsd:element ref="ns2:Ratio" minOccurs="0"/>
                <xsd:element ref="ns2:Use" minOccurs="0"/>
                <xsd:element ref="ns2:Updated" minOccurs="0"/>
                <xsd:element ref="ns2:Order0" minOccurs="0"/>
                <xsd:element ref="ns2:Audience" minOccurs="0"/>
                <xsd:element ref="ns2:_x0032_013" minOccurs="0"/>
                <xsd:element ref="ns2:Copyright" minOccurs="0"/>
                <xsd:element ref="ns2:Year" minOccurs="0"/>
                <xsd:element ref="ns2:Target_x0020_Audien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859d8f-6750-407e-aa47-fba89d8acaed" elementFormDefault="qualified">
    <xsd:import namespace="http://schemas.microsoft.com/office/2006/documentManagement/types"/>
    <xsd:import namespace="http://schemas.microsoft.com/office/infopath/2007/PartnerControls"/>
    <xsd:element name="Owner" ma:index="8" nillable="true" ma:displayName="Owner" ma:internalName="Owner">
      <xsd:simpleType>
        <xsd:restriction base="dms:Text">
          <xsd:maxLength value="255"/>
        </xsd:restriction>
      </xsd:simpleType>
    </xsd:element>
    <xsd:element name="Description0" ma:index="9" nillable="true" ma:displayName="Description" ma:internalName="Description0">
      <xsd:simpleType>
        <xsd:restriction base="dms:Note">
          <xsd:maxLength value="255"/>
        </xsd:restriction>
      </xsd:simpleType>
    </xsd:element>
    <xsd:element name="Status" ma:index="10" nillable="true" ma:displayName="Status" ma:format="Dropdown" ma:internalName="Status">
      <xsd:simpleType>
        <xsd:restriction base="dms:Choice">
          <xsd:enumeration value="Rough"/>
          <xsd:enumeration value="Draft"/>
          <xsd:enumeration value="In Review"/>
          <xsd:enumeration value="Final"/>
        </xsd:restriction>
      </xsd:simpleType>
    </xsd:element>
    <xsd:element name="Template_x0020_Type" ma:index="11" nillable="true" ma:displayName="Template Type" ma:format="Dropdown" ma:internalName="Template_x0020_Type">
      <xsd:simpleType>
        <xsd:restriction base="dms:Choice">
          <xsd:enumeration value="Standard"/>
          <xsd:enumeration value="Specialty"/>
          <xsd:enumeration value="SAS Federal Sub-Brand"/>
          <xsd:enumeration value="SAS Best Practices Sub-Brand"/>
          <xsd:enumeration value="SAS Partner"/>
          <xsd:enumeration value="2016 Standard"/>
          <xsd:enumeration value="2015 Standard"/>
          <xsd:enumeration value="2014 Standard"/>
          <xsd:enumeration value="2013 Standard"/>
          <xsd:enumeration value="2012 Standard"/>
          <xsd:enumeration value="Standard"/>
          <xsd:enumeration value="Optional"/>
          <xsd:enumeration value="Other"/>
        </xsd:restriction>
      </xsd:simpleType>
    </xsd:element>
    <xsd:element name="Office_x0020_Version" ma:index="12" nillable="true" ma:displayName="Office Version" ma:format="Dropdown" ma:internalName="Office_x0020_Version">
      <xsd:simpleType>
        <xsd:restriction base="dms:Choice">
          <xsd:enumeration value="2010"/>
          <xsd:enumeration value="2007"/>
          <xsd:enumeration value="2003"/>
        </xsd:restriction>
      </xsd:simpleType>
    </xsd:element>
    <xsd:element name="Extension" ma:index="13" nillable="true" ma:displayName="Extension" ma:format="Dropdown" ma:internalName="Extension">
      <xsd:simpleType>
        <xsd:restriction base="dms:Choice">
          <xsd:enumeration value="PPT"/>
          <xsd:enumeration value="POT"/>
          <xsd:enumeration value="PPTX"/>
          <xsd:enumeration value="POTX"/>
        </xsd:restriction>
      </xsd:simpleType>
    </xsd:element>
    <xsd:element name="Ratio" ma:index="14" nillable="true" ma:displayName="Ratio" ma:format="Dropdown" ma:internalName="Ratio">
      <xsd:simpleType>
        <xsd:restriction base="dms:Choice">
          <xsd:enumeration value="4x3"/>
          <xsd:enumeration value="16x9"/>
        </xsd:restriction>
      </xsd:simpleType>
    </xsd:element>
    <xsd:element name="Use" ma:index="15" nillable="true" ma:displayName="Use" ma:format="Dropdown" ma:internalName="Use">
      <xsd:simpleType>
        <xsd:restriction base="dms:Choice">
          <xsd:enumeration value="n/a"/>
          <xsd:enumeration value="About SAS"/>
          <xsd:enumeration value="BA Message"/>
          <xsd:enumeration value="Graphics Library"/>
          <xsd:enumeration value="Template"/>
          <xsd:enumeration value="User Guide"/>
        </xsd:restriction>
      </xsd:simpleType>
    </xsd:element>
    <xsd:element name="Updated" ma:index="16" nillable="true" ma:displayName="Updated" ma:format="DateOnly" ma:internalName="Updated">
      <xsd:simpleType>
        <xsd:restriction base="dms:DateTime"/>
      </xsd:simpleType>
    </xsd:element>
    <xsd:element name="Order0" ma:index="17" nillable="true" ma:displayName="Order" ma:description="For About SAS and BA Message slides, the order for them to appear in the view on the page." ma:internalName="Order0">
      <xsd:simpleType>
        <xsd:restriction base="dms:Number"/>
      </xsd:simpleType>
    </xsd:element>
    <xsd:element name="Audience" ma:index="18" nillable="true" ma:displayName="Audience" ma:internalName="Audience">
      <xsd:simpleType>
        <xsd:restriction base="dms:Text">
          <xsd:maxLength value="255"/>
        </xsd:restriction>
      </xsd:simpleType>
    </xsd:element>
    <xsd:element name="_x0032_013" ma:index="19" nillable="true" ma:displayName="2013" ma:format="Dropdown" ma:internalName="_x0032_013">
      <xsd:simpleType>
        <xsd:restriction base="dms:Choice">
          <xsd:enumeration value="Yes"/>
          <xsd:enumeration value="No"/>
          <xsd:enumeration value="n/a"/>
        </xsd:restriction>
      </xsd:simpleType>
    </xsd:element>
    <xsd:element name="Copyright" ma:index="20" nillable="true" ma:displayName="Copyright" ma:format="Dropdown" ma:internalName="Copyright">
      <xsd:simpleType>
        <xsd:restriction base="dms:Choice">
          <xsd:enumeration value="n/a"/>
          <xsd:enumeration value="2016"/>
          <xsd:enumeration value="2015"/>
          <xsd:enumeration value="2014"/>
          <xsd:enumeration value="2013"/>
          <xsd:enumeration value="2012"/>
        </xsd:restriction>
      </xsd:simpleType>
    </xsd:element>
    <xsd:element name="Year" ma:index="21" nillable="true" ma:displayName="Year" ma:default="2017" ma:format="Dropdown" ma:internalName="Year">
      <xsd:simpleType>
        <xsd:restriction base="dms:Choice">
          <xsd:enumeration value="2017"/>
          <xsd:enumeration value="2016"/>
          <xsd:enumeration value="2015"/>
          <xsd:enumeration value="2014"/>
          <xsd:enumeration value="2013"/>
          <xsd:enumeration value="2012"/>
        </xsd:restriction>
      </xsd:simpleType>
    </xsd:element>
    <xsd:element name="Target_x0020_Audience" ma:index="22" nillable="true" ma:displayName="Target Audience" ma:description="Use for templates targeted to a specific presenter" ma:format="Dropdown" ma:internalName="Target_x0020_Audience">
      <xsd:simpleType>
        <xsd:union memberTypes="dms:Text">
          <xsd:simpleType>
            <xsd:restriction base="dms:Choice">
              <xsd:enumeration value="Beacon Accounts Only"/>
              <xsd:enumeration value="Customer Success"/>
              <xsd:enumeration value="SAS Best Practices"/>
              <xsd:enumeration value="Parnters"/>
              <xsd:enumeration value="VSTI"/>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27859d8f-6750-407e-aa47-fba89d8acaed" xsi:nil="true"/>
    <Extension xmlns="27859d8f-6750-407e-aa47-fba89d8acaed">POTX</Extension>
    <_x0032_013 xmlns="27859d8f-6750-407e-aa47-fba89d8acaed" xsi:nil="true"/>
    <Ratio xmlns="27859d8f-6750-407e-aa47-fba89d8acaed">16x9</Ratio>
    <Order0 xmlns="27859d8f-6750-407e-aa47-fba89d8acaed" xsi:nil="true"/>
    <Year xmlns="27859d8f-6750-407e-aa47-fba89d8acaed">2017</Year>
    <Template_x0020_Type xmlns="27859d8f-6750-407e-aa47-fba89d8acaed">Standard</Template_x0020_Type>
    <Office_x0020_Version xmlns="27859d8f-6750-407e-aa47-fba89d8acaed" xsi:nil="true"/>
    <Updated xmlns="27859d8f-6750-407e-aa47-fba89d8acaed" xsi:nil="true"/>
    <Status xmlns="27859d8f-6750-407e-aa47-fba89d8acaed">Final</Status>
    <Audience xmlns="27859d8f-6750-407e-aa47-fba89d8acaed">Customer Ready / External</Audience>
    <Target_x0020_Audience xmlns="27859d8f-6750-407e-aa47-fba89d8acaed" xsi:nil="true"/>
    <Copyright xmlns="27859d8f-6750-407e-aa47-fba89d8acaed">n/a</Copyright>
    <Use xmlns="27859d8f-6750-407e-aa47-fba89d8acaed">Template</Use>
    <Owner xmlns="27859d8f-6750-407e-aa47-fba89d8acaed" xsi:nil="true"/>
  </documentManagement>
</p:properties>
</file>

<file path=customXml/itemProps1.xml><?xml version="1.0" encoding="utf-8"?>
<ds:datastoreItem xmlns:ds="http://schemas.openxmlformats.org/officeDocument/2006/customXml" ds:itemID="{FC42774E-3E67-415F-A28D-4422B3E8B6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859d8f-6750-407e-aa47-fba89d8aca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9FFAD7-AEAC-4092-B3A0-4E6224950BD4}">
  <ds:schemaRefs>
    <ds:schemaRef ds:uri="http://schemas.microsoft.com/sharepoint/v3/contenttype/forms"/>
  </ds:schemaRefs>
</ds:datastoreItem>
</file>

<file path=customXml/itemProps3.xml><?xml version="1.0" encoding="utf-8"?>
<ds:datastoreItem xmlns:ds="http://schemas.openxmlformats.org/officeDocument/2006/customXml" ds:itemID="{C5BE8351-0CBC-418B-A366-CF8331160122}">
  <ds:schemaRefs>
    <ds:schemaRef ds:uri="http://purl.org/dc/term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27859d8f-6750-407e-aa47-fba89d8acaed"/>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AS-External-16x9</Template>
  <TotalTime>0</TotalTime>
  <Words>2249</Words>
  <Application>Microsoft Office PowerPoint</Application>
  <PresentationFormat>On-screen Show (16:9)</PresentationFormat>
  <Paragraphs>481</Paragraphs>
  <Slides>52</Slides>
  <Notes>4</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52</vt:i4>
      </vt:variant>
    </vt:vector>
  </HeadingPairs>
  <TitlesOfParts>
    <vt:vector size="63" baseType="lpstr">
      <vt:lpstr>ＭＳ Ｐゴシック</vt:lpstr>
      <vt:lpstr>Arial</vt:lpstr>
      <vt:lpstr>Calibri</vt:lpstr>
      <vt:lpstr>Calibri Light</vt:lpstr>
      <vt:lpstr>Times New Roman</vt:lpstr>
      <vt:lpstr>SAS Master, White</vt:lpstr>
      <vt:lpstr>SAS - Blue Master</vt:lpstr>
      <vt:lpstr>SAS Viya Master - white</vt:lpstr>
      <vt:lpstr>Viya Master - Blue</vt:lpstr>
      <vt:lpstr>Confidential Master - White</vt:lpstr>
      <vt:lpstr>Confidential - Blue Master</vt:lpstr>
      <vt:lpstr>Cybersecurity Data Science</vt:lpstr>
      <vt:lpstr>INTRODUCTION</vt:lpstr>
      <vt:lpstr>Research Motivation: Genesis in Six Memes</vt:lpstr>
      <vt:lpstr>Three Year Genesis of This Talk</vt:lpstr>
      <vt:lpstr>PowerPoint Presentation</vt:lpstr>
      <vt:lpstr>Three Year Genesis of This Talk</vt:lpstr>
      <vt:lpstr>PowerPoint Presentation</vt:lpstr>
      <vt:lpstr>PowerPoint Presentation</vt:lpstr>
      <vt:lpstr>Three Year Genesis of This Talk</vt:lpstr>
      <vt:lpstr>2019: Drowning in Data Lakes</vt:lpstr>
      <vt:lpstr>PowerPoint Presentation</vt:lpstr>
      <vt:lpstr>PowerPoint Presentation</vt:lpstr>
      <vt:lpstr>2019: Reactive militarization</vt:lpstr>
      <vt:lpstr>PowerPoint Presentation</vt:lpstr>
      <vt:lpstr>PowerPoint Presentation</vt:lpstr>
      <vt:lpstr>Data Science in 30 Seconds…</vt:lpstr>
      <vt:lpstr>CSDS Interview Research What Type of Data Science is CSDS?</vt:lpstr>
      <vt:lpstr>Participants - Sample</vt:lpstr>
      <vt:lpstr>Demographic Profile (n=43)</vt:lpstr>
      <vt:lpstr>Demographic Profile (n=43)</vt:lpstr>
      <vt:lpstr>Interview Questions and Analysis 43 Cybersecurity Data Scientists (Dis-)Agree…</vt:lpstr>
      <vt:lpstr>CSDS Practitioner Interview Research</vt:lpstr>
      <vt:lpstr>Methodology: Interview Topic Labeling (CODING)</vt:lpstr>
      <vt:lpstr>CSDS Objectives - Conceptual Model for Responses</vt:lpstr>
      <vt:lpstr>Threats &amp; Adjacent Domains CSDS Professional Perspectives</vt:lpstr>
      <vt:lpstr>THREATS: 13 Adversarial Trends</vt:lpstr>
      <vt:lpstr>METHODS: 8 Influential Adjacent Domains</vt:lpstr>
      <vt:lpstr>CHALLENGES Perceived CSDS Gaps</vt:lpstr>
      <vt:lpstr>Challenges:  12 Topics</vt:lpstr>
      <vt:lpstr>Challenges:  12 Topics =&gt; 5 Themes*</vt:lpstr>
      <vt:lpstr>Best Practices Perceived CSDS Treatments</vt:lpstr>
      <vt:lpstr>Best Practices:  26 Topics =&gt; 8 Themes*</vt:lpstr>
      <vt:lpstr>Key Guidance CSDS Gap Prescriptions</vt:lpstr>
      <vt:lpstr>Key Prescribed Treatments: Correlation Between Factors</vt:lpstr>
      <vt:lpstr>Organization:  Interdisciplinary Collaboration</vt:lpstr>
      <vt:lpstr>Organization:  Interdisciplinary Collaboration</vt:lpstr>
      <vt:lpstr>People - Process - Technology Management of Information System</vt:lpstr>
      <vt:lpstr>People: Anomaly Detection - Simply Complex</vt:lpstr>
      <vt:lpstr>Process: Analytics Life Cycle</vt:lpstr>
      <vt:lpstr>Technology: Architect Exploratory &amp; Detection Platforms*</vt:lpstr>
      <vt:lpstr>Summary</vt:lpstr>
      <vt:lpstr>Cybersecurity Data Science (CSDS)</vt:lpstr>
      <vt:lpstr>Thank You!   Interested to participate?  scott.mongeau@sas.com  </vt:lpstr>
      <vt:lpstr>REFERENCES</vt:lpstr>
      <vt:lpstr>REFERENCES</vt:lpstr>
      <vt:lpstr>APPENDIX</vt:lpstr>
      <vt:lpstr>Organization:  Building Disciplinary Bridges</vt:lpstr>
      <vt:lpstr>Key Prescribed Treatments: Correlation Between Factors</vt:lpstr>
      <vt:lpstr>Process: Machine Learning Segmentation versus Classification</vt:lpstr>
      <vt:lpstr>Cybersecurity Analytics Maturity Model</vt:lpstr>
      <vt:lpstr>Cyber Defense Economics:  Optimizing Accessibility Versus Exposure Invest to point of optimality</vt:lpstr>
      <vt:lpstr>The ‘Meta Picture’ for Technologists and Methodologists</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8T11:09:41Z</dcterms:created>
  <dcterms:modified xsi:type="dcterms:W3CDTF">2019-01-08T17:1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BAB130CD55FC4E81C56B543F99CD21</vt:lpwstr>
  </property>
</Properties>
</file>